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4.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7" r:id="rId4"/>
    <p:sldMasterId id="2147483660" r:id="rId5"/>
    <p:sldMasterId id="2147483726" r:id="rId6"/>
    <p:sldMasterId id="2147483742" r:id="rId7"/>
    <p:sldMasterId id="2147483788" r:id="rId8"/>
  </p:sldMasterIdLst>
  <p:notesMasterIdLst>
    <p:notesMasterId r:id="rId10"/>
  </p:notesMasterIdLst>
  <p:handoutMasterIdLst>
    <p:handoutMasterId r:id="rId11"/>
  </p:handoutMasterIdLst>
  <p:sldIdLst>
    <p:sldId id="2147477412"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pp Assessments" id="{56DC7BE7-D818-41DF-B449-6885DC79BD96}">
          <p14:sldIdLst>
            <p14:sldId id="214747741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92B20A-43DA-2B6E-64E6-A109DDF4D329}" name="Rajavel Sekaran" initials="RS" userId="S::rajavel.sekaran@rackspace.com::e798b76a-1a28-4941-8fad-2173d61c9eaf" providerId="AD"/>
  <p188:author id="{EC4B3017-A661-4289-6641-3EFB98887F96}" name="Abhijeet Khadilkar" initials="" userId="S::ak@spearhead.so::34abaf64-d3f1-4e5f-bf89-b4d35545deee" providerId="AD"/>
  <p188:author id="{5CE3E31B-2B7D-ADCD-21B8-461B8A3B1E09}" name="siva@spearhead.so" initials="si" userId="S::urn:spo:guest#siva@spearhead.so::" providerId="AD"/>
  <p188:author id="{2110A451-0E0E-1454-8946-ECB66EB36069}" name="Aditya Deshmukh" initials="AD" userId="S::aditya@spearhead.so::6b370fa6-2303-4ad4-b6b7-6fa1a53f4564" providerId="AD"/>
  <p188:author id="{82D5D666-D314-81C8-DA35-DD0B40A28874}" name="Siva Dharmaraj" initials="SD" userId="S::siva@spearhead.so::ce979a9e-0634-46b5-9df4-bc712b75e0f5" providerId="AD"/>
  <p188:author id="{3A1FC26D-E751-3B42-A6E2-CF4A3CAE5C01}" name="Sergii Kozlov" initials="SK" userId="S::sergii.kozlov@rackspace.com::b034d25d-f7f3-4de0-b39c-e7548ee5f7d1" providerId="AD"/>
  <p188:author id="{9D0C5071-FB79-F8B1-3A36-3B9586EBE181}" name="Shefali Victors" initials="SV" userId="S::shefali.victors@rackspace.com::107f0092-1157-4cf6-bb37-aefdc4ad3f45" providerId="AD"/>
  <p188:author id="{98D00778-16A8-E563-5B95-5EB54A607B6F}" name="Abhijeet Khadilkar" initials="AK" userId="S::abhijeet.khadikar@rackspace.com::ee5576c3-2f9c-47f4-9fef-fada6bdeea0e" providerId="AD"/>
  <p188:author id="{72E8D199-8396-959D-E052-BAB638FEE880}" name="Sergii Kozlov" initials="" userId="S::Sergii.Kozlov@rackspace.com::b034d25d-f7f3-4de0-b39c-e7548ee5f7d1" providerId="AD"/>
  <p188:author id="{7AE57F9A-9B2E-9A38-7967-7259B88422C1}" name="Will Andrews" initials="WA" userId="S::will@spearhead.so::d1a5e211-24b4-40a2-8b8a-128343c27d79" providerId="AD"/>
  <p188:author id="{625FD9AE-88F2-0A68-2675-E9EF0A4D7F77}" name="aditya@spearhead.so" initials="ad" userId="S::urn:spo:guest#aditya@spearhead.so::" providerId="AD"/>
  <p188:author id="{D04928B4-92EB-CE5C-8DE5-DFAE5117D484}" name="Michael Bordash" initials="" userId="S::michael.bordash@rackspace.com::9d7f9d0b-38b8-4b17-9647-8c59bba25ac6" providerId="AD"/>
  <p188:author id="{280BDDD5-3266-08FB-996D-83F08A9A9ABA}" name="Tim Bergen" initials="TB" userId="S::timothy.bergen@rackspace.com::282a942c-ced4-48b5-be9f-2ce3aabfb51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77"/>
    <a:srgbClr val="00B0F0"/>
    <a:srgbClr val="7030A0"/>
    <a:srgbClr val="1E82CB"/>
    <a:srgbClr val="E4780C"/>
    <a:srgbClr val="D9F6FA"/>
    <a:srgbClr val="8061BC"/>
    <a:srgbClr val="15A796"/>
    <a:srgbClr val="C72887"/>
    <a:srgbClr val="7D7F8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28F4806-F623-05D4-E8ED-F013604B209A}" v="2" dt="2025-03-27T20:51:05.610"/>
  </p1510:revLst>
</p1510:revInfo>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viewProps" Target="viewProp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smail, Ebrahim Bari" userId="S::ebrahim.ismail@optum.com::3216fec9-2426-46ab-904b-b88e81601be4" providerId="AD" clId="Web-{EF3CE4A7-6C61-55EB-33FA-C44D1104CE96}"/>
    <pc:docChg chg="modSld">
      <pc:chgData name="Ismail, Ebrahim Bari" userId="S::ebrahim.ismail@optum.com::3216fec9-2426-46ab-904b-b88e81601be4" providerId="AD" clId="Web-{EF3CE4A7-6C61-55EB-33FA-C44D1104CE96}" dt="2025-03-20T00:43:18.753" v="1" actId="20577"/>
      <pc:docMkLst>
        <pc:docMk/>
      </pc:docMkLst>
      <pc:sldChg chg="modSp">
        <pc:chgData name="Ismail, Ebrahim Bari" userId="S::ebrahim.ismail@optum.com::3216fec9-2426-46ab-904b-b88e81601be4" providerId="AD" clId="Web-{EF3CE4A7-6C61-55EB-33FA-C44D1104CE96}" dt="2025-03-20T00:43:18.753" v="1" actId="20577"/>
        <pc:sldMkLst>
          <pc:docMk/>
          <pc:sldMk cId="193486105" sldId="2147477401"/>
        </pc:sldMkLst>
        <pc:spChg chg="mod">
          <ac:chgData name="Ismail, Ebrahim Bari" userId="S::ebrahim.ismail@optum.com::3216fec9-2426-46ab-904b-b88e81601be4" providerId="AD" clId="Web-{EF3CE4A7-6C61-55EB-33FA-C44D1104CE96}" dt="2025-03-20T00:43:18.753" v="1" actId="20577"/>
          <ac:spMkLst>
            <pc:docMk/>
            <pc:sldMk cId="193486105" sldId="2147477401"/>
            <ac:spMk id="11" creationId="{17F7F0F5-01D6-1537-F55D-33C432389E46}"/>
          </ac:spMkLst>
        </pc:spChg>
      </pc:sldChg>
    </pc:docChg>
  </pc:docChgLst>
  <pc:docChgLst>
    <pc:chgData name="Kryder, Will" userId="cb1821d0-7cb3-4e6f-a410-9c4ac9aed16f" providerId="ADAL" clId="{D5A870CA-6818-4848-86E0-1350CB6A75C3}"/>
    <pc:docChg chg="modSld">
      <pc:chgData name="Kryder, Will" userId="cb1821d0-7cb3-4e6f-a410-9c4ac9aed16f" providerId="ADAL" clId="{D5A870CA-6818-4848-86E0-1350CB6A75C3}" dt="2025-03-20T13:10:42.315" v="22" actId="20577"/>
      <pc:docMkLst>
        <pc:docMk/>
      </pc:docMkLst>
      <pc:sldChg chg="modSp mod">
        <pc:chgData name="Kryder, Will" userId="cb1821d0-7cb3-4e6f-a410-9c4ac9aed16f" providerId="ADAL" clId="{D5A870CA-6818-4848-86E0-1350CB6A75C3}" dt="2025-03-20T13:10:42.315" v="22" actId="20577"/>
        <pc:sldMkLst>
          <pc:docMk/>
          <pc:sldMk cId="193486105" sldId="2147477401"/>
        </pc:sldMkLst>
        <pc:spChg chg="mod">
          <ac:chgData name="Kryder, Will" userId="cb1821d0-7cb3-4e6f-a410-9c4ac9aed16f" providerId="ADAL" clId="{D5A870CA-6818-4848-86E0-1350CB6A75C3}" dt="2025-03-20T13:10:42.315" v="22" actId="20577"/>
          <ac:spMkLst>
            <pc:docMk/>
            <pc:sldMk cId="193486105" sldId="2147477401"/>
            <ac:spMk id="2" creationId="{78F8F216-4C12-4B0C-CBB5-80C688518330}"/>
          </ac:spMkLst>
        </pc:spChg>
      </pc:sldChg>
    </pc:docChg>
  </pc:docChgLst>
  <pc:docChgLst>
    <pc:chgData name="Ismail, Ebrahim Bari" userId="S::ebrahim.ismail@optum.com::3216fec9-2426-46ab-904b-b88e81601be4" providerId="AD" clId="Web-{E28F4806-F623-05D4-E8ED-F013604B209A}"/>
    <pc:docChg chg="addSld delSld modSection">
      <pc:chgData name="Ismail, Ebrahim Bari" userId="S::ebrahim.ismail@optum.com::3216fec9-2426-46ab-904b-b88e81601be4" providerId="AD" clId="Web-{E28F4806-F623-05D4-E8ED-F013604B209A}" dt="2025-03-27T20:51:05.610" v="1"/>
      <pc:docMkLst>
        <pc:docMk/>
      </pc:docMkLst>
      <pc:sldChg chg="del">
        <pc:chgData name="Ismail, Ebrahim Bari" userId="S::ebrahim.ismail@optum.com::3216fec9-2426-46ab-904b-b88e81601be4" providerId="AD" clId="Web-{E28F4806-F623-05D4-E8ED-F013604B209A}" dt="2025-03-27T20:51:05.610" v="1"/>
        <pc:sldMkLst>
          <pc:docMk/>
          <pc:sldMk cId="193486105" sldId="2147477401"/>
        </pc:sldMkLst>
      </pc:sldChg>
      <pc:sldChg chg="add">
        <pc:chgData name="Ismail, Ebrahim Bari" userId="S::ebrahim.ismail@optum.com::3216fec9-2426-46ab-904b-b88e81601be4" providerId="AD" clId="Web-{E28F4806-F623-05D4-E8ED-F013604B209A}" dt="2025-03-27T20:51:01.891" v="0"/>
        <pc:sldMkLst>
          <pc:docMk/>
          <pc:sldMk cId="1460693386" sldId="2147477412"/>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FCBD64C-0FCC-CBFF-C800-7F90341710F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C856815-9039-476F-4401-EB7969E6BB8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991B9DB-F8BD-4DF5-9AF1-8FF33DA412E1}" type="datetimeFigureOut">
              <a:rPr lang="en-US" smtClean="0"/>
              <a:t>3/27/2025</a:t>
            </a:fld>
            <a:endParaRPr lang="en-US"/>
          </a:p>
        </p:txBody>
      </p:sp>
      <p:sp>
        <p:nvSpPr>
          <p:cNvPr id="4" name="Footer Placeholder 3">
            <a:extLst>
              <a:ext uri="{FF2B5EF4-FFF2-40B4-BE49-F238E27FC236}">
                <a16:creationId xmlns:a16="http://schemas.microsoft.com/office/drawing/2014/main" id="{71ABCB07-6187-2613-BC40-13674568275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4D37E6D-D409-83BB-BA26-3B01165D6A2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A146B0-5BA2-4C62-AE94-7F2BE99EB6D4}" type="slidenum">
              <a:rPr lang="en-US" smtClean="0"/>
              <a:t>‹#›</a:t>
            </a:fld>
            <a:endParaRPr lang="en-US"/>
          </a:p>
        </p:txBody>
      </p:sp>
    </p:spTree>
    <p:extLst>
      <p:ext uri="{BB962C8B-B14F-4D97-AF65-F5344CB8AC3E}">
        <p14:creationId xmlns:p14="http://schemas.microsoft.com/office/powerpoint/2010/main" val="4892247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D7DD25-A92B-EB41-8DFF-3FC30B01B92D}" type="datetimeFigureOut">
              <a:rPr lang="en-NL" smtClean="0"/>
              <a:t>03/27/2025</a:t>
            </a:fld>
            <a:endParaRPr lang="en-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444131-32F3-5A48-A9BC-D41E22D7776E}" type="slidenum">
              <a:rPr lang="en-NL" smtClean="0"/>
              <a:t>‹#›</a:t>
            </a:fld>
            <a:endParaRPr lang="en-NL"/>
          </a:p>
        </p:txBody>
      </p:sp>
    </p:spTree>
    <p:extLst>
      <p:ext uri="{BB962C8B-B14F-4D97-AF65-F5344CB8AC3E}">
        <p14:creationId xmlns:p14="http://schemas.microsoft.com/office/powerpoint/2010/main" val="42162947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B53F7-3EF4-2848-6FD5-1677B2FACD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7DE896-DC99-5622-771E-CCFF8EBB17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C67A64-37F3-7FA4-B6A8-801A49F2EB20}"/>
              </a:ext>
            </a:extLst>
          </p:cNvPr>
          <p:cNvSpPr>
            <a:spLocks noGrp="1"/>
          </p:cNvSpPr>
          <p:nvPr>
            <p:ph type="body" idx="1"/>
          </p:nvPr>
        </p:nvSpPr>
        <p:spPr/>
        <p:txBody>
          <a:bodyPr/>
          <a:lstStyle/>
          <a:p>
            <a:r>
              <a:rPr lang="en-US"/>
              <a:t>Details on Scoring</a:t>
            </a:r>
          </a:p>
          <a:p>
            <a:r>
              <a:rPr lang="en-US"/>
              <a:t>Overall:  Dependent on solution for GCP connectivity to on prem for BH Shared Gateway</a:t>
            </a:r>
          </a:p>
          <a:p>
            <a:r>
              <a:rPr lang="en-US"/>
              <a:t>Data Management: </a:t>
            </a:r>
            <a:r>
              <a:rPr lang="en-US" err="1"/>
              <a:t>Replatforming</a:t>
            </a:r>
            <a:r>
              <a:rPr lang="en-US"/>
              <a:t> to GCP Cloud SQL, required connectivity to on prem</a:t>
            </a:r>
          </a:p>
          <a:p>
            <a:r>
              <a:rPr lang="en-US"/>
              <a:t>Security &amp; Compliance</a:t>
            </a:r>
          </a:p>
          <a:p>
            <a:r>
              <a:rPr lang="en-US"/>
              <a:t>Business Continuity: Missing DR plan</a:t>
            </a:r>
          </a:p>
          <a:p>
            <a:r>
              <a:rPr lang="en-US"/>
              <a:t>Cloud Readiness: Use of UCP v1 may require an upgrade soon.</a:t>
            </a:r>
          </a:p>
          <a:p>
            <a:r>
              <a:rPr lang="en-US"/>
              <a:t>Cost Management: N/A</a:t>
            </a:r>
          </a:p>
          <a:p>
            <a:r>
              <a:rPr lang="en-US"/>
              <a:t>Migration Process: Migration plan exists, but with some gaps</a:t>
            </a:r>
          </a:p>
        </p:txBody>
      </p:sp>
      <p:sp>
        <p:nvSpPr>
          <p:cNvPr id="4" name="Slide Number Placeholder 3">
            <a:extLst>
              <a:ext uri="{FF2B5EF4-FFF2-40B4-BE49-F238E27FC236}">
                <a16:creationId xmlns:a16="http://schemas.microsoft.com/office/drawing/2014/main" id="{95B0937C-C18E-5BE0-2174-08DA2526F40E}"/>
              </a:ext>
            </a:extLst>
          </p:cNvPr>
          <p:cNvSpPr>
            <a:spLocks noGrp="1"/>
          </p:cNvSpPr>
          <p:nvPr>
            <p:ph type="sldNum" sz="quarter" idx="5"/>
          </p:nvPr>
        </p:nvSpPr>
        <p:spPr/>
        <p:txBody>
          <a:bodyPr/>
          <a:lstStyle/>
          <a:p>
            <a:fld id="{59444131-32F3-5A48-A9BC-D41E22D7776E}" type="slidenum">
              <a:rPr lang="en-NL" smtClean="0"/>
              <a:t>2</a:t>
            </a:fld>
            <a:endParaRPr lang="en-NL"/>
          </a:p>
        </p:txBody>
      </p:sp>
    </p:spTree>
    <p:extLst>
      <p:ext uri="{BB962C8B-B14F-4D97-AF65-F5344CB8AC3E}">
        <p14:creationId xmlns:p14="http://schemas.microsoft.com/office/powerpoint/2010/main" val="24054007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5.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14.png"/><Relationship Id="rId2" Type="http://schemas.openxmlformats.org/officeDocument/2006/relationships/image" Target="../media/image2.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4</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421497" y="4243004"/>
            <a:ext cx="3310128" cy="1859623"/>
          </a:xfrm>
          <a:prstGeom prst="rect">
            <a:avLst/>
          </a:prstGeom>
          <a:ln w="6350">
            <a:solidFill>
              <a:schemeClr val="accent2"/>
            </a:solidFill>
          </a:ln>
        </p:spPr>
      </p:pic>
      <p:pic>
        <p:nvPicPr>
          <p:cNvPr id="3" name="Picture 2">
            <a:extLst>
              <a:ext uri="{FF2B5EF4-FFF2-40B4-BE49-F238E27FC236}">
                <a16:creationId xmlns:a16="http://schemas.microsoft.com/office/drawing/2014/main" id="{EB8C1BEC-5C50-EC82-6813-2CCF2BF25A5A}"/>
              </a:ext>
              <a:ext uri="{C183D7F6-B498-43B3-948B-1728B52AA6E4}">
                <adec:decorative xmlns:adec="http://schemas.microsoft.com/office/drawing/2017/decorative" val="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121966" y="525529"/>
            <a:ext cx="6609660" cy="3725696"/>
          </a:xfrm>
          <a:prstGeom prst="rect">
            <a:avLst/>
          </a:prstGeom>
          <a:ln w="6350">
            <a:solidFill>
              <a:schemeClr val="accent2"/>
            </a:solidFill>
          </a:ln>
        </p:spPr>
      </p:pic>
    </p:spTree>
    <p:extLst>
      <p:ext uri="{BB962C8B-B14F-4D97-AF65-F5344CB8AC3E}">
        <p14:creationId xmlns:p14="http://schemas.microsoft.com/office/powerpoint/2010/main" val="20080666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08">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93E2B6F-B0F8-598A-12EC-0815E7654FD0}"/>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9696FBF0-1B42-325E-9531-A33DF9031814}"/>
              </a:ext>
            </a:extLst>
          </p:cNvPr>
          <p:cNvSpPr>
            <a:spLocks noGrp="1"/>
          </p:cNvSpPr>
          <p:nvPr>
            <p:ph type="dt" sz="half" idx="16"/>
          </p:nvPr>
        </p:nvSpPr>
        <p:spPr/>
        <p:txBody>
          <a:bodyPr/>
          <a:lstStyle/>
          <a:p>
            <a:fld id="{31D07194-3FCF-4B6D-B722-EDAE00F746E4}" type="datetime1">
              <a:rPr lang="en-US" smtClean="0"/>
              <a:t>3/27/2025</a:t>
            </a:fld>
            <a:endParaRPr lang="en-US"/>
          </a:p>
        </p:txBody>
      </p:sp>
      <p:sp>
        <p:nvSpPr>
          <p:cNvPr id="4" name="Footer Placeholder 3">
            <a:extLst>
              <a:ext uri="{FF2B5EF4-FFF2-40B4-BE49-F238E27FC236}">
                <a16:creationId xmlns:a16="http://schemas.microsoft.com/office/drawing/2014/main" id="{E529C78D-F523-2F5F-AF8F-9D18AFD1F748}"/>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2483F371-F5E3-E66E-2FC2-36252A822E65}"/>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72347065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Header - 3D Pattern">
    <p:bg>
      <p:bgRef idx="1001">
        <a:schemeClr val="bg1"/>
      </p:bgRef>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D8B21494-F854-5E7F-90A1-59534F70F49F}"/>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469812" y="2810560"/>
            <a:ext cx="8604338" cy="1523494"/>
          </a:xfrm>
        </p:spPr>
        <p:txBody>
          <a:bodyPr anchor="b"/>
          <a:lstStyle>
            <a:lvl1pPr algn="l">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469812" y="4615025"/>
            <a:ext cx="8604338" cy="332399"/>
          </a:xfrm>
        </p:spPr>
        <p:txBody>
          <a:bodyPr wrap="square">
            <a:spAutoFit/>
          </a:bodyPr>
          <a:lstStyle>
            <a:lvl1pPr marL="0" indent="0" algn="l">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pic>
        <p:nvPicPr>
          <p:cNvPr id="7" name="Optum logo" descr="Optum">
            <a:extLst>
              <a:ext uri="{FF2B5EF4-FFF2-40B4-BE49-F238E27FC236}">
                <a16:creationId xmlns:a16="http://schemas.microsoft.com/office/drawing/2014/main" id="{F96E566F-75FF-6E62-CF79-F9438EEDCF8F}"/>
              </a:ext>
              <a:ext uri="{C183D7F6-B498-43B3-948B-1728B52AA6E4}">
                <adec:decorative xmlns:adec="http://schemas.microsoft.com/office/drawing/2017/decorative" val="0"/>
              </a:ext>
            </a:extLst>
          </p:cNvPr>
          <p:cNvPicPr>
            <a:picLocks noRot="1" noChangeAspect="1" noMove="1" noResize="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61961" y="6343650"/>
            <a:ext cx="773055" cy="223837"/>
          </a:xfrm>
          <a:prstGeom prst="rect">
            <a:avLst/>
          </a:prstGeom>
        </p:spPr>
      </p:pic>
      <p:sp>
        <p:nvSpPr>
          <p:cNvPr id="8" name="Page number">
            <a:extLst>
              <a:ext uri="{FF2B5EF4-FFF2-40B4-BE49-F238E27FC236}">
                <a16:creationId xmlns:a16="http://schemas.microsoft.com/office/drawing/2014/main" id="{BA5DDE68-10CC-2627-5C8D-7C20A9ADA30A}"/>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9" name="Copyright">
            <a:extLst>
              <a:ext uri="{FF2B5EF4-FFF2-40B4-BE49-F238E27FC236}">
                <a16:creationId xmlns:a16="http://schemas.microsoft.com/office/drawing/2014/main" id="{2CBA3746-88E4-7FA3-5D41-3401A98E72FF}"/>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5 Optum, Inc. All rights reserved.</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7/2025</a:t>
            </a:fld>
            <a:endParaRPr lang="en-US"/>
          </a:p>
        </p:txBody>
      </p:sp>
    </p:spTree>
    <p:extLst>
      <p:ext uri="{BB962C8B-B14F-4D97-AF65-F5344CB8AC3E}">
        <p14:creationId xmlns:p14="http://schemas.microsoft.com/office/powerpoint/2010/main" val="18603791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5716">
          <p15:clr>
            <a:srgbClr val="FBAE40"/>
          </p15:clr>
        </p15:guide>
        <p15:guide id="3" orient="horz" pos="2733">
          <p15:clr>
            <a:srgbClr val="FBAE40"/>
          </p15:clr>
        </p15:guide>
        <p15:guide id="4" orient="horz" pos="290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  *  ">
    <p:bg bwMode="gray">
      <p:bgRef idx="1001">
        <a:schemeClr val="bg1"/>
      </p:bgRef>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95C5A8-FAFE-4EA7-1617-7FDC41A7C405}"/>
              </a:ext>
              <a:ext uri="{C183D7F6-B498-43B3-948B-1728B52AA6E4}">
                <adec:decorative xmlns:adec="http://schemas.microsoft.com/office/drawing/2017/decorative" val="1"/>
              </a:ext>
            </a:extLst>
          </p:cNvPr>
          <p:cNvCxnSpPr/>
          <p:nvPr userDrawn="1"/>
        </p:nvCxnSpPr>
        <p:spPr bwMode="gray">
          <a:xfrm>
            <a:off x="6096000" y="682647"/>
            <a:ext cx="0" cy="5492706"/>
          </a:xfrm>
          <a:prstGeom prst="line">
            <a:avLst/>
          </a:prstGeom>
          <a:ln w="381000" cap="rnd">
            <a:solidFill>
              <a:srgbClr val="7030A0"/>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0939138"/>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over - Orange Pattern">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1E0AC6D-E833-ABCF-B8E2-232E02FD80C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3413760"/>
          </a:xfrm>
          <a:prstGeom prst="rect">
            <a:avLst/>
          </a:prstGeom>
        </p:spPr>
      </p:pic>
      <p:sp>
        <p:nvSpPr>
          <p:cNvPr id="3"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SpPr/>
          <p:nvPr/>
        </p:nvSpPr>
        <p:spPr bwMode="gray">
          <a:xfrm>
            <a:off x="457200" y="833151"/>
            <a:ext cx="1917863" cy="555945"/>
          </a:xfrm>
          <a:custGeom>
            <a:avLst/>
            <a:gdLst>
              <a:gd name="connsiteX0" fmla="*/ 1425659 w 1917863"/>
              <a:gd name="connsiteY0" fmla="*/ 429711 h 555945"/>
              <a:gd name="connsiteX1" fmla="*/ 1425659 w 1917863"/>
              <a:gd name="connsiteY1" fmla="*/ 104401 h 555945"/>
              <a:gd name="connsiteX2" fmla="*/ 1528841 w 1917863"/>
              <a:gd name="connsiteY2" fmla="*/ 104401 h 555945"/>
              <a:gd name="connsiteX3" fmla="*/ 1529437 w 1917863"/>
              <a:gd name="connsiteY3" fmla="*/ 143246 h 555945"/>
              <a:gd name="connsiteX4" fmla="*/ 1615634 w 1917863"/>
              <a:gd name="connsiteY4" fmla="*/ 99552 h 555945"/>
              <a:gd name="connsiteX5" fmla="*/ 1708494 w 1917863"/>
              <a:gd name="connsiteY5" fmla="*/ 152348 h 555945"/>
              <a:gd name="connsiteX6" fmla="*/ 1808019 w 1917863"/>
              <a:gd name="connsiteY6" fmla="*/ 99552 h 555945"/>
              <a:gd name="connsiteX7" fmla="*/ 1917864 w 1917863"/>
              <a:gd name="connsiteY7" fmla="*/ 220341 h 555945"/>
              <a:gd name="connsiteX8" fmla="*/ 1917864 w 1917863"/>
              <a:gd name="connsiteY8" fmla="*/ 429738 h 555945"/>
              <a:gd name="connsiteX9" fmla="*/ 1812868 w 1917863"/>
              <a:gd name="connsiteY9" fmla="*/ 429738 h 555945"/>
              <a:gd name="connsiteX10" fmla="*/ 1812868 w 1917863"/>
              <a:gd name="connsiteY10" fmla="*/ 236107 h 555945"/>
              <a:gd name="connsiteX11" fmla="*/ 1768550 w 1917863"/>
              <a:gd name="connsiteY11" fmla="*/ 185721 h 555945"/>
              <a:gd name="connsiteX12" fmla="*/ 1724233 w 1917863"/>
              <a:gd name="connsiteY12" fmla="*/ 236107 h 555945"/>
              <a:gd name="connsiteX13" fmla="*/ 1724233 w 1917863"/>
              <a:gd name="connsiteY13" fmla="*/ 429711 h 555945"/>
              <a:gd name="connsiteX14" fmla="*/ 1619236 w 1917863"/>
              <a:gd name="connsiteY14" fmla="*/ 429711 h 555945"/>
              <a:gd name="connsiteX15" fmla="*/ 1619236 w 1917863"/>
              <a:gd name="connsiteY15" fmla="*/ 236107 h 555945"/>
              <a:gd name="connsiteX16" fmla="*/ 1574919 w 1917863"/>
              <a:gd name="connsiteY16" fmla="*/ 185721 h 555945"/>
              <a:gd name="connsiteX17" fmla="*/ 1530602 w 1917863"/>
              <a:gd name="connsiteY17" fmla="*/ 236107 h 555945"/>
              <a:gd name="connsiteX18" fmla="*/ 1530602 w 1917863"/>
              <a:gd name="connsiteY18" fmla="*/ 429711 h 555945"/>
              <a:gd name="connsiteX19" fmla="*/ 1425659 w 1917863"/>
              <a:gd name="connsiteY19" fmla="*/ 429711 h 555945"/>
              <a:gd name="connsiteX20" fmla="*/ 1390471 w 1917863"/>
              <a:gd name="connsiteY20" fmla="*/ 305888 h 555945"/>
              <a:gd name="connsiteX21" fmla="*/ 1238746 w 1917863"/>
              <a:gd name="connsiteY21" fmla="*/ 436998 h 555945"/>
              <a:gd name="connsiteX22" fmla="*/ 1087022 w 1917863"/>
              <a:gd name="connsiteY22" fmla="*/ 305888 h 555945"/>
              <a:gd name="connsiteX23" fmla="*/ 1087022 w 1917863"/>
              <a:gd name="connsiteY23" fmla="*/ 104401 h 555945"/>
              <a:gd name="connsiteX24" fmla="*/ 1192641 w 1917863"/>
              <a:gd name="connsiteY24" fmla="*/ 104401 h 555945"/>
              <a:gd name="connsiteX25" fmla="*/ 1192641 w 1917863"/>
              <a:gd name="connsiteY25" fmla="*/ 302881 h 555945"/>
              <a:gd name="connsiteX26" fmla="*/ 1238773 w 1917863"/>
              <a:gd name="connsiteY26" fmla="*/ 349609 h 555945"/>
              <a:gd name="connsiteX27" fmla="*/ 1284906 w 1917863"/>
              <a:gd name="connsiteY27" fmla="*/ 302881 h 555945"/>
              <a:gd name="connsiteX28" fmla="*/ 1284906 w 1917863"/>
              <a:gd name="connsiteY28" fmla="*/ 104401 h 555945"/>
              <a:gd name="connsiteX29" fmla="*/ 1390525 w 1917863"/>
              <a:gd name="connsiteY29" fmla="*/ 104401 h 555945"/>
              <a:gd name="connsiteX30" fmla="*/ 1390525 w 1917863"/>
              <a:gd name="connsiteY30" fmla="*/ 305888 h 555945"/>
              <a:gd name="connsiteX31" fmla="*/ 1058470 w 1917863"/>
              <a:gd name="connsiteY31" fmla="*/ 188159 h 555945"/>
              <a:gd name="connsiteX32" fmla="*/ 1058470 w 1917863"/>
              <a:gd name="connsiteY32" fmla="*/ 104401 h 555945"/>
              <a:gd name="connsiteX33" fmla="*/ 971677 w 1917863"/>
              <a:gd name="connsiteY33" fmla="*/ 104401 h 555945"/>
              <a:gd name="connsiteX34" fmla="*/ 971677 w 1917863"/>
              <a:gd name="connsiteY34" fmla="*/ 21238 h 555945"/>
              <a:gd name="connsiteX35" fmla="*/ 866681 w 1917863"/>
              <a:gd name="connsiteY35" fmla="*/ 21238 h 555945"/>
              <a:gd name="connsiteX36" fmla="*/ 866681 w 1917863"/>
              <a:gd name="connsiteY36" fmla="*/ 313175 h 555945"/>
              <a:gd name="connsiteX37" fmla="*/ 991696 w 1917863"/>
              <a:gd name="connsiteY37" fmla="*/ 434560 h 555945"/>
              <a:gd name="connsiteX38" fmla="*/ 1058470 w 1917863"/>
              <a:gd name="connsiteY38" fmla="*/ 423643 h 555945"/>
              <a:gd name="connsiteX39" fmla="*/ 1058470 w 1917863"/>
              <a:gd name="connsiteY39" fmla="*/ 340480 h 555945"/>
              <a:gd name="connsiteX40" fmla="*/ 1018406 w 1917863"/>
              <a:gd name="connsiteY40" fmla="*/ 347144 h 555945"/>
              <a:gd name="connsiteX41" fmla="*/ 971677 w 1917863"/>
              <a:gd name="connsiteY41" fmla="*/ 304669 h 555945"/>
              <a:gd name="connsiteX42" fmla="*/ 971677 w 1917863"/>
              <a:gd name="connsiteY42" fmla="*/ 188159 h 555945"/>
              <a:gd name="connsiteX43" fmla="*/ 1058470 w 1917863"/>
              <a:gd name="connsiteY43" fmla="*/ 188159 h 555945"/>
              <a:gd name="connsiteX44" fmla="*/ 733783 w 1917863"/>
              <a:gd name="connsiteY44" fmla="*/ 267042 h 555945"/>
              <a:gd name="connsiteX45" fmla="*/ 657907 w 1917863"/>
              <a:gd name="connsiteY45" fmla="*/ 348363 h 555945"/>
              <a:gd name="connsiteX46" fmla="*/ 581435 w 1917863"/>
              <a:gd name="connsiteY46" fmla="*/ 267042 h 555945"/>
              <a:gd name="connsiteX47" fmla="*/ 657907 w 1917863"/>
              <a:gd name="connsiteY47" fmla="*/ 186317 h 555945"/>
              <a:gd name="connsiteX48" fmla="*/ 733783 w 1917863"/>
              <a:gd name="connsiteY48" fmla="*/ 267042 h 555945"/>
              <a:gd name="connsiteX49" fmla="*/ 581435 w 1917863"/>
              <a:gd name="connsiteY49" fmla="*/ 555945 h 555945"/>
              <a:gd name="connsiteX50" fmla="*/ 581435 w 1917863"/>
              <a:gd name="connsiteY50" fmla="*/ 395714 h 555945"/>
              <a:gd name="connsiteX51" fmla="*/ 682179 w 1917863"/>
              <a:gd name="connsiteY51" fmla="*/ 435156 h 555945"/>
              <a:gd name="connsiteX52" fmla="*/ 839375 w 1917863"/>
              <a:gd name="connsiteY52" fmla="*/ 267042 h 555945"/>
              <a:gd name="connsiteX53" fmla="*/ 682179 w 1917863"/>
              <a:gd name="connsiteY53" fmla="*/ 99525 h 555945"/>
              <a:gd name="connsiteX54" fmla="*/ 578401 w 1917863"/>
              <a:gd name="connsiteY54" fmla="*/ 142000 h 555945"/>
              <a:gd name="connsiteX55" fmla="*/ 577805 w 1917863"/>
              <a:gd name="connsiteY55" fmla="*/ 104373 h 555945"/>
              <a:gd name="connsiteX56" fmla="*/ 475843 w 1917863"/>
              <a:gd name="connsiteY56" fmla="*/ 104373 h 555945"/>
              <a:gd name="connsiteX57" fmla="*/ 475843 w 1917863"/>
              <a:gd name="connsiteY57" fmla="*/ 555945 h 555945"/>
              <a:gd name="connsiteX58" fmla="*/ 581435 w 1917863"/>
              <a:gd name="connsiteY58" fmla="*/ 555945 h 555945"/>
              <a:gd name="connsiteX59" fmla="*/ 332597 w 1917863"/>
              <a:gd name="connsiteY59" fmla="*/ 217280 h 555945"/>
              <a:gd name="connsiteX60" fmla="*/ 222129 w 1917863"/>
              <a:gd name="connsiteY60" fmla="*/ 333816 h 555945"/>
              <a:gd name="connsiteX61" fmla="*/ 111660 w 1917863"/>
              <a:gd name="connsiteY61" fmla="*/ 217280 h 555945"/>
              <a:gd name="connsiteX62" fmla="*/ 222129 w 1917863"/>
              <a:gd name="connsiteY62" fmla="*/ 100744 h 555945"/>
              <a:gd name="connsiteX63" fmla="*/ 332597 w 1917863"/>
              <a:gd name="connsiteY63" fmla="*/ 217280 h 555945"/>
              <a:gd name="connsiteX64" fmla="*/ 222129 w 1917863"/>
              <a:gd name="connsiteY64" fmla="*/ 0 h 555945"/>
              <a:gd name="connsiteX65" fmla="*/ 0 w 1917863"/>
              <a:gd name="connsiteY65" fmla="*/ 217280 h 555945"/>
              <a:gd name="connsiteX66" fmla="*/ 222129 w 1917863"/>
              <a:gd name="connsiteY66" fmla="*/ 434560 h 555945"/>
              <a:gd name="connsiteX67" fmla="*/ 444257 w 1917863"/>
              <a:gd name="connsiteY67" fmla="*/ 217280 h 555945"/>
              <a:gd name="connsiteX68" fmla="*/ 222129 w 1917863"/>
              <a:gd name="connsiteY68" fmla="*/ 0 h 55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917863" h="555945">
                <a:moveTo>
                  <a:pt x="1425659" y="429711"/>
                </a:moveTo>
                <a:lnTo>
                  <a:pt x="1425659" y="104401"/>
                </a:lnTo>
                <a:lnTo>
                  <a:pt x="1528841" y="104401"/>
                </a:lnTo>
                <a:lnTo>
                  <a:pt x="1529437" y="143246"/>
                </a:lnTo>
                <a:cubicBezTo>
                  <a:pt x="1550078" y="113502"/>
                  <a:pt x="1580418" y="99552"/>
                  <a:pt x="1615634" y="99552"/>
                </a:cubicBezTo>
                <a:cubicBezTo>
                  <a:pt x="1659951" y="99552"/>
                  <a:pt x="1691509" y="120193"/>
                  <a:pt x="1708494" y="152348"/>
                </a:cubicBezTo>
                <a:cubicBezTo>
                  <a:pt x="1729136" y="117132"/>
                  <a:pt x="1767981" y="99552"/>
                  <a:pt x="1808019" y="99552"/>
                </a:cubicBezTo>
                <a:cubicBezTo>
                  <a:pt x="1879019" y="99552"/>
                  <a:pt x="1917864" y="152971"/>
                  <a:pt x="1917864" y="220341"/>
                </a:cubicBezTo>
                <a:lnTo>
                  <a:pt x="1917864" y="429738"/>
                </a:lnTo>
                <a:lnTo>
                  <a:pt x="1812868" y="429738"/>
                </a:lnTo>
                <a:lnTo>
                  <a:pt x="1812868" y="236107"/>
                </a:lnTo>
                <a:cubicBezTo>
                  <a:pt x="1812868" y="204548"/>
                  <a:pt x="1792849" y="185721"/>
                  <a:pt x="1768550" y="185721"/>
                </a:cubicBezTo>
                <a:cubicBezTo>
                  <a:pt x="1744252" y="185721"/>
                  <a:pt x="1724233" y="204548"/>
                  <a:pt x="1724233" y="236107"/>
                </a:cubicBezTo>
                <a:lnTo>
                  <a:pt x="1724233" y="429711"/>
                </a:lnTo>
                <a:lnTo>
                  <a:pt x="1619236" y="429711"/>
                </a:lnTo>
                <a:lnTo>
                  <a:pt x="1619236" y="236107"/>
                </a:lnTo>
                <a:cubicBezTo>
                  <a:pt x="1619236" y="204548"/>
                  <a:pt x="1599218" y="185721"/>
                  <a:pt x="1574919" y="185721"/>
                </a:cubicBezTo>
                <a:cubicBezTo>
                  <a:pt x="1550647" y="185721"/>
                  <a:pt x="1530602" y="204548"/>
                  <a:pt x="1530602" y="236107"/>
                </a:cubicBezTo>
                <a:lnTo>
                  <a:pt x="1530602" y="429711"/>
                </a:lnTo>
                <a:lnTo>
                  <a:pt x="1425659" y="429711"/>
                </a:lnTo>
                <a:close/>
                <a:moveTo>
                  <a:pt x="1390471" y="305888"/>
                </a:moveTo>
                <a:cubicBezTo>
                  <a:pt x="1390471" y="389646"/>
                  <a:pt x="1323697" y="436998"/>
                  <a:pt x="1238746" y="436998"/>
                </a:cubicBezTo>
                <a:cubicBezTo>
                  <a:pt x="1153769" y="436998"/>
                  <a:pt x="1087022" y="389646"/>
                  <a:pt x="1087022" y="305888"/>
                </a:cubicBezTo>
                <a:lnTo>
                  <a:pt x="1087022" y="104401"/>
                </a:lnTo>
                <a:lnTo>
                  <a:pt x="1192641" y="104401"/>
                </a:lnTo>
                <a:lnTo>
                  <a:pt x="1192641" y="302881"/>
                </a:lnTo>
                <a:cubicBezTo>
                  <a:pt x="1192641" y="331405"/>
                  <a:pt x="1211468" y="349609"/>
                  <a:pt x="1238773" y="349609"/>
                </a:cubicBezTo>
                <a:cubicBezTo>
                  <a:pt x="1266079" y="349609"/>
                  <a:pt x="1284906" y="331405"/>
                  <a:pt x="1284906" y="302881"/>
                </a:cubicBezTo>
                <a:lnTo>
                  <a:pt x="1284906" y="104401"/>
                </a:lnTo>
                <a:lnTo>
                  <a:pt x="1390525" y="104401"/>
                </a:lnTo>
                <a:lnTo>
                  <a:pt x="1390525" y="305888"/>
                </a:lnTo>
                <a:close/>
                <a:moveTo>
                  <a:pt x="1058470" y="188159"/>
                </a:moveTo>
                <a:lnTo>
                  <a:pt x="1058470" y="104401"/>
                </a:lnTo>
                <a:lnTo>
                  <a:pt x="971677" y="104401"/>
                </a:lnTo>
                <a:lnTo>
                  <a:pt x="971677" y="21238"/>
                </a:lnTo>
                <a:lnTo>
                  <a:pt x="866681" y="21238"/>
                </a:lnTo>
                <a:lnTo>
                  <a:pt x="866681" y="313175"/>
                </a:lnTo>
                <a:cubicBezTo>
                  <a:pt x="866681" y="393899"/>
                  <a:pt x="914628" y="434560"/>
                  <a:pt x="991696" y="434560"/>
                </a:cubicBezTo>
                <a:cubicBezTo>
                  <a:pt x="1014153" y="434560"/>
                  <a:pt x="1037828" y="432122"/>
                  <a:pt x="1058470" y="423643"/>
                </a:cubicBezTo>
                <a:lnTo>
                  <a:pt x="1058470" y="340480"/>
                </a:lnTo>
                <a:cubicBezTo>
                  <a:pt x="1043300" y="345329"/>
                  <a:pt x="1029945" y="347144"/>
                  <a:pt x="1018406" y="347144"/>
                </a:cubicBezTo>
                <a:cubicBezTo>
                  <a:pt x="990477" y="347144"/>
                  <a:pt x="971677" y="334385"/>
                  <a:pt x="971677" y="304669"/>
                </a:cubicBezTo>
                <a:lnTo>
                  <a:pt x="971677" y="188159"/>
                </a:lnTo>
                <a:lnTo>
                  <a:pt x="1058470" y="188159"/>
                </a:lnTo>
                <a:close/>
                <a:moveTo>
                  <a:pt x="733783" y="267042"/>
                </a:moveTo>
                <a:cubicBezTo>
                  <a:pt x="733783" y="313770"/>
                  <a:pt x="699786" y="348363"/>
                  <a:pt x="657907" y="348363"/>
                </a:cubicBezTo>
                <a:cubicBezTo>
                  <a:pt x="615432" y="348363"/>
                  <a:pt x="581435" y="313770"/>
                  <a:pt x="581435" y="267042"/>
                </a:cubicBezTo>
                <a:cubicBezTo>
                  <a:pt x="581435" y="220910"/>
                  <a:pt x="615432" y="186317"/>
                  <a:pt x="657907" y="186317"/>
                </a:cubicBezTo>
                <a:cubicBezTo>
                  <a:pt x="699786" y="186317"/>
                  <a:pt x="733783" y="220937"/>
                  <a:pt x="733783" y="267042"/>
                </a:cubicBezTo>
                <a:close/>
                <a:moveTo>
                  <a:pt x="581435" y="555945"/>
                </a:moveTo>
                <a:lnTo>
                  <a:pt x="581435" y="395714"/>
                </a:lnTo>
                <a:cubicBezTo>
                  <a:pt x="608145" y="420609"/>
                  <a:pt x="643333" y="435156"/>
                  <a:pt x="682179" y="435156"/>
                </a:cubicBezTo>
                <a:cubicBezTo>
                  <a:pt x="770190" y="435156"/>
                  <a:pt x="839375" y="360499"/>
                  <a:pt x="839375" y="267042"/>
                </a:cubicBezTo>
                <a:cubicBezTo>
                  <a:pt x="839375" y="174182"/>
                  <a:pt x="770190" y="99525"/>
                  <a:pt x="682179" y="99525"/>
                </a:cubicBezTo>
                <a:cubicBezTo>
                  <a:pt x="641518" y="99525"/>
                  <a:pt x="605707" y="115317"/>
                  <a:pt x="578401" y="142000"/>
                </a:cubicBezTo>
                <a:lnTo>
                  <a:pt x="577805" y="104373"/>
                </a:lnTo>
                <a:lnTo>
                  <a:pt x="475843" y="104373"/>
                </a:lnTo>
                <a:lnTo>
                  <a:pt x="475843" y="555945"/>
                </a:lnTo>
                <a:lnTo>
                  <a:pt x="581435" y="555945"/>
                </a:lnTo>
                <a:close/>
                <a:moveTo>
                  <a:pt x="332597" y="217280"/>
                </a:moveTo>
                <a:cubicBezTo>
                  <a:pt x="332597" y="284054"/>
                  <a:pt x="283431" y="333816"/>
                  <a:pt x="222129" y="333816"/>
                </a:cubicBezTo>
                <a:cubicBezTo>
                  <a:pt x="160827" y="333816"/>
                  <a:pt x="111660" y="284054"/>
                  <a:pt x="111660" y="217280"/>
                </a:cubicBezTo>
                <a:cubicBezTo>
                  <a:pt x="111660" y="150506"/>
                  <a:pt x="160827" y="100744"/>
                  <a:pt x="222129" y="100744"/>
                </a:cubicBezTo>
                <a:cubicBezTo>
                  <a:pt x="283431" y="100744"/>
                  <a:pt x="332597" y="150533"/>
                  <a:pt x="332597" y="217280"/>
                </a:cubicBezTo>
                <a:close/>
                <a:moveTo>
                  <a:pt x="222129" y="0"/>
                </a:moveTo>
                <a:cubicBezTo>
                  <a:pt x="97710" y="0"/>
                  <a:pt x="0" y="96491"/>
                  <a:pt x="0" y="217280"/>
                </a:cubicBezTo>
                <a:cubicBezTo>
                  <a:pt x="0" y="338069"/>
                  <a:pt x="97710" y="434560"/>
                  <a:pt x="222129" y="434560"/>
                </a:cubicBezTo>
                <a:cubicBezTo>
                  <a:pt x="346548" y="434560"/>
                  <a:pt x="444257" y="338069"/>
                  <a:pt x="444257" y="217280"/>
                </a:cubicBezTo>
                <a:cubicBezTo>
                  <a:pt x="444257" y="96491"/>
                  <a:pt x="346548" y="0"/>
                  <a:pt x="222129" y="0"/>
                </a:cubicBezTo>
                <a:close/>
              </a:path>
            </a:pathLst>
          </a:custGeom>
          <a:solidFill>
            <a:schemeClr val="bg1"/>
          </a:solidFill>
          <a:ln w="2704"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57201" y="389801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57201" y="5470851"/>
            <a:ext cx="7315200" cy="276999"/>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57200" y="6179542"/>
            <a:ext cx="54864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bwMode="gray"/>
        <p:txBody>
          <a:bodyPr/>
          <a:lstStyle/>
          <a:p>
            <a:fld id="{7F9D45FD-5E41-4099-8C3D-34BB181680CA}" type="datetime1">
              <a:rPr lang="en-US" smtClean="0"/>
              <a:t>3/27/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bwMode="gray"/>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bwMode="gray"/>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9671554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4898">
          <p15:clr>
            <a:srgbClr val="FBAE40"/>
          </p15:clr>
        </p15:guide>
        <p15:guide id="3" orient="horz" pos="3245">
          <p15:clr>
            <a:srgbClr val="FBAE40"/>
          </p15:clr>
        </p15:guide>
        <p15:guide id="4" orient="horz" pos="34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 Orange Pattern">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555FC67-8BE9-BFBF-5BCF-DFF1533546C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b="34206"/>
          <a:stretch/>
        </p:blipFill>
        <p:spPr bwMode="gray">
          <a:xfrm>
            <a:off x="0" y="0"/>
            <a:ext cx="12192000" cy="2246047"/>
          </a:xfrm>
          <a:prstGeom prst="rect">
            <a:avLst/>
          </a:prstGeom>
        </p:spPr>
      </p:pic>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8956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7000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7/2025</a:t>
            </a:fld>
            <a:endParaRPr lang="en-US"/>
          </a:p>
        </p:txBody>
      </p:sp>
    </p:spTree>
    <p:extLst>
      <p:ext uri="{BB962C8B-B14F-4D97-AF65-F5344CB8AC3E}">
        <p14:creationId xmlns:p14="http://schemas.microsoft.com/office/powerpoint/2010/main" val="401279772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788">
          <p15:clr>
            <a:srgbClr val="FBAE40"/>
          </p15:clr>
        </p15:guide>
        <p15:guide id="4" orient="horz" pos="295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016572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5 Optum, Inc. All rights reserved. </a:t>
            </a:r>
          </a:p>
        </p:txBody>
      </p:sp>
    </p:spTree>
    <p:extLst>
      <p:ext uri="{BB962C8B-B14F-4D97-AF65-F5344CB8AC3E}">
        <p14:creationId xmlns:p14="http://schemas.microsoft.com/office/powerpoint/2010/main" val="2893173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672736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F162BC2A-6E37-4CC1-B6FC-7AA5CD4A505C}" type="datetime1">
              <a:rPr lang="en-US" smtClean="0"/>
              <a:t>3/27/2025</a:t>
            </a:fld>
            <a:endParaRPr lang="en-US"/>
          </a:p>
        </p:txBody>
      </p:sp>
    </p:spTree>
    <p:extLst>
      <p:ext uri="{BB962C8B-B14F-4D97-AF65-F5344CB8AC3E}">
        <p14:creationId xmlns:p14="http://schemas.microsoft.com/office/powerpoint/2010/main" val="174043624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905E7EE1-CC23-4392-A75F-0151249E6FE6}" type="datetime1">
              <a:rPr lang="en-US" smtClean="0"/>
              <a:t>3/27/2025</a:t>
            </a:fld>
            <a:endParaRPr lang="en-US"/>
          </a:p>
        </p:txBody>
      </p:sp>
    </p:spTree>
    <p:extLst>
      <p:ext uri="{BB962C8B-B14F-4D97-AF65-F5344CB8AC3E}">
        <p14:creationId xmlns:p14="http://schemas.microsoft.com/office/powerpoint/2010/main" val="20551850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C7E67C32-0E3A-477C-8FCF-E79CE5312C46}" type="datetime1">
              <a:rPr lang="en-US" smtClean="0"/>
              <a:t>3/27/2025</a:t>
            </a:fld>
            <a:endParaRPr lang="en-US"/>
          </a:p>
        </p:txBody>
      </p:sp>
    </p:spTree>
    <p:extLst>
      <p:ext uri="{BB962C8B-B14F-4D97-AF65-F5344CB8AC3E}">
        <p14:creationId xmlns:p14="http://schemas.microsoft.com/office/powerpoint/2010/main" val="228217899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127029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0756414A-3F0D-460A-95CF-C7910A70C1D4}" type="datetime1">
              <a:rPr lang="en-US" smtClean="0"/>
              <a:t>3/27/2025</a:t>
            </a:fld>
            <a:endParaRPr lang="en-US"/>
          </a:p>
        </p:txBody>
      </p:sp>
    </p:spTree>
    <p:extLst>
      <p:ext uri="{BB962C8B-B14F-4D97-AF65-F5344CB8AC3E}">
        <p14:creationId xmlns:p14="http://schemas.microsoft.com/office/powerpoint/2010/main" val="142462758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91743E0-E954-4790-A436-446467232A0A}" type="datetime1">
              <a:rPr lang="en-US" smtClean="0"/>
              <a:t>3/27/2025</a:t>
            </a:fld>
            <a:endParaRPr lang="en-US"/>
          </a:p>
        </p:txBody>
      </p:sp>
    </p:spTree>
    <p:extLst>
      <p:ext uri="{BB962C8B-B14F-4D97-AF65-F5344CB8AC3E}">
        <p14:creationId xmlns:p14="http://schemas.microsoft.com/office/powerpoint/2010/main" val="81026952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4</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421497" y="4243004"/>
            <a:ext cx="3310128" cy="1859623"/>
          </a:xfrm>
          <a:prstGeom prst="rect">
            <a:avLst/>
          </a:prstGeom>
          <a:ln w="6350">
            <a:solidFill>
              <a:schemeClr val="accent2"/>
            </a:solidFill>
          </a:ln>
        </p:spPr>
      </p:pic>
      <p:pic>
        <p:nvPicPr>
          <p:cNvPr id="3" name="Picture 2">
            <a:extLst>
              <a:ext uri="{FF2B5EF4-FFF2-40B4-BE49-F238E27FC236}">
                <a16:creationId xmlns:a16="http://schemas.microsoft.com/office/drawing/2014/main" id="{EB8C1BEC-5C50-EC82-6813-2CCF2BF25A5A}"/>
              </a:ext>
              <a:ext uri="{C183D7F6-B498-43B3-948B-1728B52AA6E4}">
                <adec:decorative xmlns:adec="http://schemas.microsoft.com/office/drawing/2017/decorative" val="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121966" y="525529"/>
            <a:ext cx="6609660" cy="3725696"/>
          </a:xfrm>
          <a:prstGeom prst="rect">
            <a:avLst/>
          </a:prstGeom>
          <a:ln w="6350">
            <a:solidFill>
              <a:schemeClr val="accent2"/>
            </a:solidFill>
          </a:ln>
        </p:spPr>
      </p:pic>
    </p:spTree>
    <p:extLst>
      <p:ext uri="{BB962C8B-B14F-4D97-AF65-F5344CB8AC3E}">
        <p14:creationId xmlns:p14="http://schemas.microsoft.com/office/powerpoint/2010/main" val="327409226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048680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sp>
        <p:nvSpPr>
          <p:cNvPr id="10" name="Freeform 11">
            <a:extLst>
              <a:ext uri="{FF2B5EF4-FFF2-40B4-BE49-F238E27FC236}">
                <a16:creationId xmlns:a16="http://schemas.microsoft.com/office/drawing/2014/main" id="{018ADF08-66C4-7A27-5941-438B95462BC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0"/>
            <a:ext cx="6037330" cy="6858000"/>
          </a:xfrm>
          <a:custGeom>
            <a:avLst/>
            <a:gdLst>
              <a:gd name="connsiteX0" fmla="*/ 0 w 6037330"/>
              <a:gd name="connsiteY0" fmla="*/ 0 h 6858000"/>
              <a:gd name="connsiteX1" fmla="*/ 3835988 w 6037330"/>
              <a:gd name="connsiteY1" fmla="*/ 0 h 6858000"/>
              <a:gd name="connsiteX2" fmla="*/ 4114800 w 6037330"/>
              <a:gd name="connsiteY2" fmla="*/ 0 h 6858000"/>
              <a:gd name="connsiteX3" fmla="*/ 6037330 w 6037330"/>
              <a:gd name="connsiteY3" fmla="*/ 0 h 6858000"/>
              <a:gd name="connsiteX4" fmla="*/ 5982904 w 6037330"/>
              <a:gd name="connsiteY4" fmla="*/ 57086 h 6858000"/>
              <a:gd name="connsiteX5" fmla="*/ 4680119 w 6037330"/>
              <a:gd name="connsiteY5" fmla="*/ 3429000 h 6858000"/>
              <a:gd name="connsiteX6" fmla="*/ 5982904 w 6037330"/>
              <a:gd name="connsiteY6" fmla="*/ 6800914 h 6858000"/>
              <a:gd name="connsiteX7" fmla="*/ 6037330 w 6037330"/>
              <a:gd name="connsiteY7" fmla="*/ 6858000 h 6858000"/>
              <a:gd name="connsiteX8" fmla="*/ 4114800 w 6037330"/>
              <a:gd name="connsiteY8" fmla="*/ 6858000 h 6858000"/>
              <a:gd name="connsiteX9" fmla="*/ 3835988 w 6037330"/>
              <a:gd name="connsiteY9" fmla="*/ 6858000 h 6858000"/>
              <a:gd name="connsiteX10" fmla="*/ 0 w 603733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37330" h="6858000">
                <a:moveTo>
                  <a:pt x="0" y="0"/>
                </a:moveTo>
                <a:lnTo>
                  <a:pt x="3835988" y="0"/>
                </a:lnTo>
                <a:lnTo>
                  <a:pt x="4114800" y="0"/>
                </a:lnTo>
                <a:lnTo>
                  <a:pt x="6037330" y="0"/>
                </a:lnTo>
                <a:lnTo>
                  <a:pt x="5982904" y="57086"/>
                </a:lnTo>
                <a:cubicBezTo>
                  <a:pt x="5173461" y="947670"/>
                  <a:pt x="4680119" y="2130722"/>
                  <a:pt x="4680119" y="3429000"/>
                </a:cubicBezTo>
                <a:cubicBezTo>
                  <a:pt x="4680119" y="4727278"/>
                  <a:pt x="5173461" y="5910330"/>
                  <a:pt x="5982904" y="6800914"/>
                </a:cubicBezTo>
                <a:lnTo>
                  <a:pt x="6037330" y="6858000"/>
                </a:lnTo>
                <a:lnTo>
                  <a:pt x="4114800" y="6858000"/>
                </a:lnTo>
                <a:lnTo>
                  <a:pt x="3835988" y="6858000"/>
                </a:lnTo>
                <a:lnTo>
                  <a:pt x="0" y="6858000"/>
                </a:ln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12" name="Optum logo" descr="Optum">
            <a:extLst>
              <a:ext uri="{FF2B5EF4-FFF2-40B4-BE49-F238E27FC236}">
                <a16:creationId xmlns:a16="http://schemas.microsoft.com/office/drawing/2014/main" id="{FA968874-41BB-1E3A-AF0C-1B4952106FCF}"/>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937990" y="3019667"/>
            <a:ext cx="2827394" cy="818667"/>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6594904" y="1649301"/>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6594904" y="3834665"/>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6594904" y="5396367"/>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D5255B-62C8-4970-931D-B77163B385B9}" type="datetime1">
              <a:rPr lang="en-US" smtClean="0"/>
              <a:t>3/27/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3104682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152">
          <p15:clr>
            <a:srgbClr val="FFC000"/>
          </p15:clr>
        </p15:guide>
        <p15:guide id="2" pos="7120">
          <p15:clr>
            <a:srgbClr val="FFC000"/>
          </p15:clr>
        </p15:guide>
        <p15:guide id="3" orient="horz" pos="2216">
          <p15:clr>
            <a:srgbClr val="FFC000"/>
          </p15:clr>
        </p15:guide>
        <p15:guide id="4" orient="horz" pos="2408">
          <p15:clr>
            <a:srgbClr val="FFC00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ver 02">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2375092" y="231766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2375092" y="3898459"/>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2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2375091" y="4992329"/>
            <a:ext cx="73152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4" name="Freeform: Shape 13">
            <a:extLst>
              <a:ext uri="{FF2B5EF4-FFF2-40B4-BE49-F238E27FC236}">
                <a16:creationId xmlns:a16="http://schemas.microsoft.com/office/drawing/2014/main" id="{F33E8723-94DB-5556-1A86-67D45CBF982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3907075"/>
            <a:ext cx="12188952" cy="2950926"/>
          </a:xfrm>
          <a:custGeom>
            <a:avLst/>
            <a:gdLst>
              <a:gd name="connsiteX0" fmla="*/ 12188952 w 12188952"/>
              <a:gd name="connsiteY0" fmla="*/ 0 h 2950926"/>
              <a:gd name="connsiteX1" fmla="*/ 12188952 w 12188952"/>
              <a:gd name="connsiteY1" fmla="*/ 2950926 h 2950926"/>
              <a:gd name="connsiteX2" fmla="*/ 0 w 12188952"/>
              <a:gd name="connsiteY2" fmla="*/ 2950926 h 2950926"/>
              <a:gd name="connsiteX3" fmla="*/ 0 w 12188952"/>
              <a:gd name="connsiteY3" fmla="*/ 1951527 h 2950926"/>
              <a:gd name="connsiteX4" fmla="*/ 170764 w 12188952"/>
              <a:gd name="connsiteY4" fmla="*/ 2006967 h 2950926"/>
              <a:gd name="connsiteX5" fmla="*/ 4194949 w 12188952"/>
              <a:gd name="connsiteY5" fmla="*/ 2615366 h 2950926"/>
              <a:gd name="connsiteX6" fmla="*/ 11761160 w 12188952"/>
              <a:gd name="connsiteY6" fmla="*/ 304209 h 29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2950926">
                <a:moveTo>
                  <a:pt x="12188952" y="0"/>
                </a:moveTo>
                <a:lnTo>
                  <a:pt x="12188952" y="2950926"/>
                </a:lnTo>
                <a:lnTo>
                  <a:pt x="0" y="2950926"/>
                </a:lnTo>
                <a:lnTo>
                  <a:pt x="0" y="1951527"/>
                </a:lnTo>
                <a:lnTo>
                  <a:pt x="170764" y="2006967"/>
                </a:lnTo>
                <a:cubicBezTo>
                  <a:pt x="1442002" y="2402363"/>
                  <a:pt x="2793601" y="2615366"/>
                  <a:pt x="4194949" y="2615366"/>
                </a:cubicBezTo>
                <a:cubicBezTo>
                  <a:pt x="6997644" y="2615366"/>
                  <a:pt x="9601341" y="1763354"/>
                  <a:pt x="11761160" y="304209"/>
                </a:cubicBez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7F9D45FD-5E41-4099-8C3D-34BB181680CA}" type="datetime1">
              <a:rPr lang="en-US" smtClean="0"/>
              <a:t>3/27/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61456146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1496">
          <p15:clr>
            <a:srgbClr val="FBAE40"/>
          </p15:clr>
        </p15:guide>
        <p15:guide id="3" orient="horz" pos="2246">
          <p15:clr>
            <a:srgbClr val="FBAE40"/>
          </p15:clr>
        </p15:guide>
        <p15:guide id="4" orient="horz" pos="2447">
          <p15:clr>
            <a:srgbClr val="FBAE40"/>
          </p15:clr>
        </p15:guide>
        <p15:guide id="5" pos="6108">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0" name="Date Placeholder 9">
            <a:extLst>
              <a:ext uri="{FF2B5EF4-FFF2-40B4-BE49-F238E27FC236}">
                <a16:creationId xmlns:a16="http://schemas.microsoft.com/office/drawing/2014/main" id="{D64D994A-1F86-650F-91D1-D9CF4A6D5AF1}"/>
              </a:ext>
            </a:extLst>
          </p:cNvPr>
          <p:cNvSpPr>
            <a:spLocks noGrp="1"/>
          </p:cNvSpPr>
          <p:nvPr>
            <p:ph type="dt" sz="half" idx="16"/>
          </p:nvPr>
        </p:nvSpPr>
        <p:spPr/>
        <p:txBody>
          <a:bodyPr/>
          <a:lstStyle/>
          <a:p>
            <a:fld id="{2BDFFDD4-3B43-4355-8C7D-FBA6FB7C7EF0}" type="datetime1">
              <a:rPr lang="en-US" smtClean="0"/>
              <a:t>3/27/2025</a:t>
            </a:fld>
            <a:endParaRPr lang="en-US"/>
          </a:p>
        </p:txBody>
      </p:sp>
      <p:sp>
        <p:nvSpPr>
          <p:cNvPr id="12" name="Footer Placeholder 11">
            <a:extLst>
              <a:ext uri="{FF2B5EF4-FFF2-40B4-BE49-F238E27FC236}">
                <a16:creationId xmlns:a16="http://schemas.microsoft.com/office/drawing/2014/main" id="{97300FDB-6AA7-7D29-6E6C-DAB8AF3C6B3B}"/>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3" name="Slide Number Placeholder 12">
            <a:extLst>
              <a:ext uri="{FF2B5EF4-FFF2-40B4-BE49-F238E27FC236}">
                <a16:creationId xmlns:a16="http://schemas.microsoft.com/office/drawing/2014/main" id="{7FADA5F4-B71C-E968-5670-1EEE3C6C9F2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02867822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602CFF5-9BBC-863E-C089-A676996FA394}"/>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14B58E5A-BF8F-9CC6-1870-BB7839F7C399}"/>
              </a:ext>
            </a:extLst>
          </p:cNvPr>
          <p:cNvSpPr>
            <a:spLocks noGrp="1"/>
          </p:cNvSpPr>
          <p:nvPr>
            <p:ph type="dt" sz="half" idx="16"/>
          </p:nvPr>
        </p:nvSpPr>
        <p:spPr/>
        <p:txBody>
          <a:bodyPr/>
          <a:lstStyle/>
          <a:p>
            <a:fld id="{6B8B65AB-8101-4603-8392-5337355D955B}" type="datetime1">
              <a:rPr lang="en-US" smtClean="0"/>
              <a:t>3/27/2025</a:t>
            </a:fld>
            <a:endParaRPr lang="en-US"/>
          </a:p>
        </p:txBody>
      </p:sp>
      <p:sp>
        <p:nvSpPr>
          <p:cNvPr id="4" name="Footer Placeholder 3">
            <a:extLst>
              <a:ext uri="{FF2B5EF4-FFF2-40B4-BE49-F238E27FC236}">
                <a16:creationId xmlns:a16="http://schemas.microsoft.com/office/drawing/2014/main" id="{5CCAC17E-165F-4D50-26D1-8EE65CB27552}"/>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E64404C2-5DC8-B39C-1165-3141C2711ECC}"/>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417078700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over 05">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3" name="Date Placeholder 12">
            <a:extLst>
              <a:ext uri="{FF2B5EF4-FFF2-40B4-BE49-F238E27FC236}">
                <a16:creationId xmlns:a16="http://schemas.microsoft.com/office/drawing/2014/main" id="{B3E840D2-D053-6E6F-0B27-C096734737F9}"/>
              </a:ext>
            </a:extLst>
          </p:cNvPr>
          <p:cNvSpPr>
            <a:spLocks noGrp="1"/>
          </p:cNvSpPr>
          <p:nvPr>
            <p:ph type="dt" sz="half" idx="16"/>
          </p:nvPr>
        </p:nvSpPr>
        <p:spPr/>
        <p:txBody>
          <a:bodyPr/>
          <a:lstStyle/>
          <a:p>
            <a:fld id="{79F95C81-D4B2-49D0-968C-E1F3D64A3D27}" type="datetime1">
              <a:rPr lang="en-US" smtClean="0"/>
              <a:t>3/27/2025</a:t>
            </a:fld>
            <a:endParaRPr lang="en-US"/>
          </a:p>
        </p:txBody>
      </p:sp>
      <p:sp>
        <p:nvSpPr>
          <p:cNvPr id="14" name="Footer Placeholder 13">
            <a:extLst>
              <a:ext uri="{FF2B5EF4-FFF2-40B4-BE49-F238E27FC236}">
                <a16:creationId xmlns:a16="http://schemas.microsoft.com/office/drawing/2014/main" id="{8EE78183-D8BF-5FE0-7735-D8FFB8197C80}"/>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2507B2F4-B4AF-C862-4E69-D674DC62159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2903370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3" name="Picture Placeholder 12">
            <a:extLst>
              <a:ext uri="{FF2B5EF4-FFF2-40B4-BE49-F238E27FC236}">
                <a16:creationId xmlns:a16="http://schemas.microsoft.com/office/drawing/2014/main" id="{D42CBABA-1415-19BE-D237-380FC8DEF6DE}"/>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DCF03D0B-5402-EF45-D126-86ACF7A1BEBD}"/>
              </a:ext>
            </a:extLst>
          </p:cNvPr>
          <p:cNvSpPr>
            <a:spLocks noGrp="1"/>
          </p:cNvSpPr>
          <p:nvPr>
            <p:ph type="dt" sz="half" idx="16"/>
          </p:nvPr>
        </p:nvSpPr>
        <p:spPr/>
        <p:txBody>
          <a:bodyPr/>
          <a:lstStyle/>
          <a:p>
            <a:fld id="{555A700A-DE3D-4C25-9F30-4012DF69D24E}" type="datetime1">
              <a:rPr lang="en-US" smtClean="0"/>
              <a:t>3/27/2025</a:t>
            </a:fld>
            <a:endParaRPr lang="en-US"/>
          </a:p>
        </p:txBody>
      </p:sp>
      <p:sp>
        <p:nvSpPr>
          <p:cNvPr id="4" name="Footer Placeholder 3">
            <a:extLst>
              <a:ext uri="{FF2B5EF4-FFF2-40B4-BE49-F238E27FC236}">
                <a16:creationId xmlns:a16="http://schemas.microsoft.com/office/drawing/2014/main" id="{1FF9B01D-9565-F36F-8010-39CED224AA25}"/>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FE5BA348-E888-6410-6785-0BF3F28CBCE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40242492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7/2025</a:t>
            </a:fld>
            <a:endParaRPr lang="en-US"/>
          </a:p>
        </p:txBody>
      </p:sp>
    </p:spTree>
    <p:extLst>
      <p:ext uri="{BB962C8B-B14F-4D97-AF65-F5344CB8AC3E}">
        <p14:creationId xmlns:p14="http://schemas.microsoft.com/office/powerpoint/2010/main" val="8237677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Cover 07">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9" name="Date Placeholder 8">
            <a:extLst>
              <a:ext uri="{FF2B5EF4-FFF2-40B4-BE49-F238E27FC236}">
                <a16:creationId xmlns:a16="http://schemas.microsoft.com/office/drawing/2014/main" id="{52474C07-8F5D-CC3D-9724-9A29EA763F79}"/>
              </a:ext>
            </a:extLst>
          </p:cNvPr>
          <p:cNvSpPr>
            <a:spLocks noGrp="1"/>
          </p:cNvSpPr>
          <p:nvPr>
            <p:ph type="dt" sz="half" idx="16"/>
          </p:nvPr>
        </p:nvSpPr>
        <p:spPr/>
        <p:txBody>
          <a:bodyPr/>
          <a:lstStyle/>
          <a:p>
            <a:fld id="{C7CE0BA8-CBFE-4EDD-9053-90766C8BBA05}" type="datetime1">
              <a:rPr lang="en-US" smtClean="0"/>
              <a:t>3/27/2025</a:t>
            </a:fld>
            <a:endParaRPr lang="en-US"/>
          </a:p>
        </p:txBody>
      </p:sp>
      <p:sp>
        <p:nvSpPr>
          <p:cNvPr id="10" name="Footer Placeholder 9">
            <a:extLst>
              <a:ext uri="{FF2B5EF4-FFF2-40B4-BE49-F238E27FC236}">
                <a16:creationId xmlns:a16="http://schemas.microsoft.com/office/drawing/2014/main" id="{D471F904-8B56-7EFA-3473-9DFAE1BFA581}"/>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2" name="Slide Number Placeholder 11">
            <a:extLst>
              <a:ext uri="{FF2B5EF4-FFF2-40B4-BE49-F238E27FC236}">
                <a16:creationId xmlns:a16="http://schemas.microsoft.com/office/drawing/2014/main" id="{FC8C7DF5-F873-F2E9-CB9E-9C8CF17D2CC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50659856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08">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93E2B6F-B0F8-598A-12EC-0815E7654FD0}"/>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9696FBF0-1B42-325E-9531-A33DF9031814}"/>
              </a:ext>
            </a:extLst>
          </p:cNvPr>
          <p:cNvSpPr>
            <a:spLocks noGrp="1"/>
          </p:cNvSpPr>
          <p:nvPr>
            <p:ph type="dt" sz="half" idx="16"/>
          </p:nvPr>
        </p:nvSpPr>
        <p:spPr/>
        <p:txBody>
          <a:bodyPr/>
          <a:lstStyle/>
          <a:p>
            <a:fld id="{31D07194-3FCF-4B6D-B722-EDAE00F746E4}" type="datetime1">
              <a:rPr lang="en-US" smtClean="0"/>
              <a:t>3/27/2025</a:t>
            </a:fld>
            <a:endParaRPr lang="en-US"/>
          </a:p>
        </p:txBody>
      </p:sp>
      <p:sp>
        <p:nvSpPr>
          <p:cNvPr id="4" name="Footer Placeholder 3">
            <a:extLst>
              <a:ext uri="{FF2B5EF4-FFF2-40B4-BE49-F238E27FC236}">
                <a16:creationId xmlns:a16="http://schemas.microsoft.com/office/drawing/2014/main" id="{E529C78D-F523-2F5F-AF8F-9D18AFD1F748}"/>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2483F371-F5E3-E66E-2FC2-36252A822E65}"/>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58924536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561547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7/2025</a:t>
            </a:fld>
            <a:endParaRPr lang="en-US"/>
          </a:p>
        </p:txBody>
      </p:sp>
    </p:spTree>
    <p:extLst>
      <p:ext uri="{BB962C8B-B14F-4D97-AF65-F5344CB8AC3E}">
        <p14:creationId xmlns:p14="http://schemas.microsoft.com/office/powerpoint/2010/main" val="42757850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A231FC8-4CC9-4D4D-9D42-4100B12BBFD2}" type="datetime1">
              <a:rPr lang="en-US" smtClean="0"/>
              <a:t>3/27/2025</a:t>
            </a:fld>
            <a:endParaRPr lang="en-US"/>
          </a:p>
        </p:txBody>
      </p:sp>
    </p:spTree>
    <p:extLst>
      <p:ext uri="{BB962C8B-B14F-4D97-AF65-F5344CB8AC3E}">
        <p14:creationId xmlns:p14="http://schemas.microsoft.com/office/powerpoint/2010/main" val="38506170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439737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99AD85F-304C-4BF5-94FB-50C7E84ED8FF}" type="datetime1">
              <a:rPr lang="en-US" smtClean="0"/>
              <a:t>3/27/2025</a:t>
            </a:fld>
            <a:endParaRPr lang="en-US"/>
          </a:p>
        </p:txBody>
      </p:sp>
    </p:spTree>
    <p:extLst>
      <p:ext uri="{BB962C8B-B14F-4D97-AF65-F5344CB8AC3E}">
        <p14:creationId xmlns:p14="http://schemas.microsoft.com/office/powerpoint/2010/main" val="3990142342"/>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C49669F-A6B0-45C8-9E96-E3ECF646095E}" type="datetime1">
              <a:rPr lang="en-US" smtClean="0"/>
              <a:t>3/27/2025</a:t>
            </a:fld>
            <a:endParaRPr lang="en-US"/>
          </a:p>
        </p:txBody>
      </p:sp>
    </p:spTree>
    <p:extLst>
      <p:ext uri="{BB962C8B-B14F-4D97-AF65-F5344CB8AC3E}">
        <p14:creationId xmlns:p14="http://schemas.microsoft.com/office/powerpoint/2010/main" val="213245766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7/2025</a:t>
            </a:fld>
            <a:endParaRPr lang="en-US"/>
          </a:p>
        </p:txBody>
      </p:sp>
    </p:spTree>
    <p:extLst>
      <p:ext uri="{BB962C8B-B14F-4D97-AF65-F5344CB8AC3E}">
        <p14:creationId xmlns:p14="http://schemas.microsoft.com/office/powerpoint/2010/main" val="394260616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457199" y="1557210"/>
            <a:ext cx="10210801"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8F7E04CA-C30D-40A2-B51C-2DAC9C9B2D09}" type="datetime1">
              <a:rPr lang="en-US" smtClean="0"/>
              <a:t>3/27/2025</a:t>
            </a:fld>
            <a:endParaRPr lang="en-US"/>
          </a:p>
        </p:txBody>
      </p:sp>
    </p:spTree>
    <p:extLst>
      <p:ext uri="{BB962C8B-B14F-4D97-AF65-F5344CB8AC3E}">
        <p14:creationId xmlns:p14="http://schemas.microsoft.com/office/powerpoint/2010/main" val="39654743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A231FC8-4CC9-4D4D-9D42-4100B12BBFD2}" type="datetime1">
              <a:rPr lang="en-US" smtClean="0"/>
              <a:t>3/27/2025</a:t>
            </a:fld>
            <a:endParaRPr lang="en-US"/>
          </a:p>
        </p:txBody>
      </p:sp>
    </p:spTree>
    <p:extLst>
      <p:ext uri="{BB962C8B-B14F-4D97-AF65-F5344CB8AC3E}">
        <p14:creationId xmlns:p14="http://schemas.microsoft.com/office/powerpoint/2010/main" val="19259895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8F242276-4B37-464E-82B5-A2CCFA8D2047}" type="datetime1">
              <a:rPr lang="en-US" smtClean="0"/>
              <a:t>3/27/2025</a:t>
            </a:fld>
            <a:endParaRPr lang="en-US"/>
          </a:p>
        </p:txBody>
      </p:sp>
    </p:spTree>
    <p:extLst>
      <p:ext uri="{BB962C8B-B14F-4D97-AF65-F5344CB8AC3E}">
        <p14:creationId xmlns:p14="http://schemas.microsoft.com/office/powerpoint/2010/main" val="2854582373"/>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47181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AC1A5A6-F2E7-4A6D-960D-C8D830EDC445}" type="datetime1">
              <a:rPr lang="en-US" smtClean="0"/>
              <a:t>3/27/2025</a:t>
            </a:fld>
            <a:endParaRPr lang="en-US"/>
          </a:p>
        </p:txBody>
      </p:sp>
    </p:spTree>
    <p:extLst>
      <p:ext uri="{BB962C8B-B14F-4D97-AF65-F5344CB8AC3E}">
        <p14:creationId xmlns:p14="http://schemas.microsoft.com/office/powerpoint/2010/main" val="173519392"/>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EDB376A-9CC0-4260-A1FB-E4D7D3B0E9C8}" type="datetime1">
              <a:rPr lang="en-US" smtClean="0"/>
              <a:t>3/27/2025</a:t>
            </a:fld>
            <a:endParaRPr lang="en-US"/>
          </a:p>
        </p:txBody>
      </p:sp>
    </p:spTree>
    <p:extLst>
      <p:ext uri="{BB962C8B-B14F-4D97-AF65-F5344CB8AC3E}">
        <p14:creationId xmlns:p14="http://schemas.microsoft.com/office/powerpoint/2010/main" val="4099061343"/>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8DFD118-AC3B-49F2-BA0B-7B9DF70B8F3E}" type="datetime1">
              <a:rPr lang="en-US" smtClean="0"/>
              <a:t>3/27/2025</a:t>
            </a:fld>
            <a:endParaRPr lang="en-US"/>
          </a:p>
        </p:txBody>
      </p:sp>
    </p:spTree>
    <p:extLst>
      <p:ext uri="{BB962C8B-B14F-4D97-AF65-F5344CB8AC3E}">
        <p14:creationId xmlns:p14="http://schemas.microsoft.com/office/powerpoint/2010/main" val="312228765"/>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9F7F53CA-DA9B-42DE-BC32-1FB13BF92AF8}" type="datetime1">
              <a:rPr lang="en-US" smtClean="0"/>
              <a:t>3/27/2025</a:t>
            </a:fld>
            <a:endParaRPr lang="en-US"/>
          </a:p>
        </p:txBody>
      </p:sp>
    </p:spTree>
    <p:extLst>
      <p:ext uri="{BB962C8B-B14F-4D97-AF65-F5344CB8AC3E}">
        <p14:creationId xmlns:p14="http://schemas.microsoft.com/office/powerpoint/2010/main" val="798757254"/>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087FC9B-1C7F-4ADF-9DC1-8BD3DCF6C9B1}" type="datetime1">
              <a:rPr lang="en-US" smtClean="0"/>
              <a:t>3/27/2025</a:t>
            </a:fld>
            <a:endParaRPr lang="en-US"/>
          </a:p>
        </p:txBody>
      </p:sp>
    </p:spTree>
    <p:extLst>
      <p:ext uri="{BB962C8B-B14F-4D97-AF65-F5344CB8AC3E}">
        <p14:creationId xmlns:p14="http://schemas.microsoft.com/office/powerpoint/2010/main" val="34891757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D66124C2-8024-4FE0-A9C8-31A6FDFB86B0}" type="datetime1">
              <a:rPr lang="en-US" smtClean="0"/>
              <a:t>3/27/2025</a:t>
            </a:fld>
            <a:endParaRPr lang="en-US"/>
          </a:p>
        </p:txBody>
      </p:sp>
    </p:spTree>
    <p:extLst>
      <p:ext uri="{BB962C8B-B14F-4D97-AF65-F5344CB8AC3E}">
        <p14:creationId xmlns:p14="http://schemas.microsoft.com/office/powerpoint/2010/main" val="34672045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899700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5 Optum, Inc. All rights reserved. </a:t>
            </a:r>
          </a:p>
        </p:txBody>
      </p:sp>
    </p:spTree>
    <p:extLst>
      <p:ext uri="{BB962C8B-B14F-4D97-AF65-F5344CB8AC3E}">
        <p14:creationId xmlns:p14="http://schemas.microsoft.com/office/powerpoint/2010/main" val="1080740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2941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extLst>
      <p:ext uri="{BB962C8B-B14F-4D97-AF65-F5344CB8AC3E}">
        <p14:creationId xmlns:p14="http://schemas.microsoft.com/office/powerpoint/2010/main" val="26494090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6" name="Date Placeholder 5">
            <a:extLst>
              <a:ext uri="{FF2B5EF4-FFF2-40B4-BE49-F238E27FC236}">
                <a16:creationId xmlns:a16="http://schemas.microsoft.com/office/drawing/2014/main" id="{C6B15803-F6D9-5431-2487-4C73B8C1DF2A}"/>
              </a:ext>
            </a:extLst>
          </p:cNvPr>
          <p:cNvSpPr>
            <a:spLocks noGrp="1"/>
          </p:cNvSpPr>
          <p:nvPr>
            <p:ph type="dt" sz="half" idx="10"/>
          </p:nvPr>
        </p:nvSpPr>
        <p:spPr/>
        <p:txBody>
          <a:bodyPr/>
          <a:lstStyle/>
          <a:p>
            <a:fld id="{C1137399-D891-4686-95F7-74D123B9B7E1}" type="datetime1">
              <a:rPr lang="en-US" smtClean="0"/>
              <a:t>3/27/2025</a:t>
            </a:fld>
            <a:endParaRPr lang="en-US"/>
          </a:p>
        </p:txBody>
      </p:sp>
      <p:sp>
        <p:nvSpPr>
          <p:cNvPr id="7" name="Footer Placeholder 6">
            <a:extLst>
              <a:ext uri="{FF2B5EF4-FFF2-40B4-BE49-F238E27FC236}">
                <a16:creationId xmlns:a16="http://schemas.microsoft.com/office/drawing/2014/main" id="{F269C9BC-6EF2-38EF-75B7-F7588131A48A}"/>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A912A579-71DE-7DBE-D864-DAF943E22A23}"/>
              </a:ext>
            </a:extLst>
          </p:cNvPr>
          <p:cNvSpPr>
            <a:spLocks noGrp="1"/>
          </p:cNvSpPr>
          <p:nvPr>
            <p:ph type="sldNum" sz="quarter" idx="12"/>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51801338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C49669F-A6B0-45C8-9E96-E3ECF646095E}" type="datetime1">
              <a:rPr lang="en-US" smtClean="0"/>
              <a:t>3/27/2025</a:t>
            </a:fld>
            <a:endParaRPr lang="en-US"/>
          </a:p>
        </p:txBody>
      </p:sp>
    </p:spTree>
    <p:extLst>
      <p:ext uri="{BB962C8B-B14F-4D97-AF65-F5344CB8AC3E}">
        <p14:creationId xmlns:p14="http://schemas.microsoft.com/office/powerpoint/2010/main" val="224239075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7/2025</a:t>
            </a:fld>
            <a:endParaRPr lang="en-US"/>
          </a:p>
        </p:txBody>
      </p:sp>
    </p:spTree>
    <p:extLst>
      <p:ext uri="{BB962C8B-B14F-4D97-AF65-F5344CB8AC3E}">
        <p14:creationId xmlns:p14="http://schemas.microsoft.com/office/powerpoint/2010/main" val="108928547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457199" y="1557210"/>
            <a:ext cx="10210801"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8F7E04CA-C30D-40A2-B51C-2DAC9C9B2D09}" type="datetime1">
              <a:rPr lang="en-US" smtClean="0"/>
              <a:t>3/27/2025</a:t>
            </a:fld>
            <a:endParaRPr lang="en-US"/>
          </a:p>
        </p:txBody>
      </p:sp>
    </p:spTree>
    <p:extLst>
      <p:ext uri="{BB962C8B-B14F-4D97-AF65-F5344CB8AC3E}">
        <p14:creationId xmlns:p14="http://schemas.microsoft.com/office/powerpoint/2010/main" val="174467647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8F242276-4B37-464E-82B5-A2CCFA8D2047}" type="datetime1">
              <a:rPr lang="en-US" smtClean="0"/>
              <a:t>3/27/2025</a:t>
            </a:fld>
            <a:endParaRPr lang="en-US"/>
          </a:p>
        </p:txBody>
      </p:sp>
    </p:spTree>
    <p:extLst>
      <p:ext uri="{BB962C8B-B14F-4D97-AF65-F5344CB8AC3E}">
        <p14:creationId xmlns:p14="http://schemas.microsoft.com/office/powerpoint/2010/main" val="2789427557"/>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98811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7162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AC1A5A6-F2E7-4A6D-960D-C8D830EDC445}" type="datetime1">
              <a:rPr lang="en-US" smtClean="0"/>
              <a:t>3/27/2025</a:t>
            </a:fld>
            <a:endParaRPr lang="en-US"/>
          </a:p>
        </p:txBody>
      </p:sp>
    </p:spTree>
    <p:extLst>
      <p:ext uri="{BB962C8B-B14F-4D97-AF65-F5344CB8AC3E}">
        <p14:creationId xmlns:p14="http://schemas.microsoft.com/office/powerpoint/2010/main" val="4242344551"/>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EDB376A-9CC0-4260-A1FB-E4D7D3B0E9C8}" type="datetime1">
              <a:rPr lang="en-US" smtClean="0"/>
              <a:t>3/27/2025</a:t>
            </a:fld>
            <a:endParaRPr lang="en-US"/>
          </a:p>
        </p:txBody>
      </p:sp>
    </p:spTree>
    <p:extLst>
      <p:ext uri="{BB962C8B-B14F-4D97-AF65-F5344CB8AC3E}">
        <p14:creationId xmlns:p14="http://schemas.microsoft.com/office/powerpoint/2010/main" val="1495140493"/>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8DFD118-AC3B-49F2-BA0B-7B9DF70B8F3E}" type="datetime1">
              <a:rPr lang="en-US" smtClean="0"/>
              <a:t>3/27/2025</a:t>
            </a:fld>
            <a:endParaRPr lang="en-US"/>
          </a:p>
        </p:txBody>
      </p:sp>
    </p:spTree>
    <p:extLst>
      <p:ext uri="{BB962C8B-B14F-4D97-AF65-F5344CB8AC3E}">
        <p14:creationId xmlns:p14="http://schemas.microsoft.com/office/powerpoint/2010/main" val="165306828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9F7F53CA-DA9B-42DE-BC32-1FB13BF92AF8}" type="datetime1">
              <a:rPr lang="en-US" smtClean="0"/>
              <a:t>3/27/2025</a:t>
            </a:fld>
            <a:endParaRPr lang="en-US"/>
          </a:p>
        </p:txBody>
      </p:sp>
    </p:spTree>
    <p:extLst>
      <p:ext uri="{BB962C8B-B14F-4D97-AF65-F5344CB8AC3E}">
        <p14:creationId xmlns:p14="http://schemas.microsoft.com/office/powerpoint/2010/main" val="3721850225"/>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087FC9B-1C7F-4ADF-9DC1-8BD3DCF6C9B1}" type="datetime1">
              <a:rPr lang="en-US" smtClean="0"/>
              <a:t>3/27/2025</a:t>
            </a:fld>
            <a:endParaRPr lang="en-US"/>
          </a:p>
        </p:txBody>
      </p:sp>
    </p:spTree>
    <p:extLst>
      <p:ext uri="{BB962C8B-B14F-4D97-AF65-F5344CB8AC3E}">
        <p14:creationId xmlns:p14="http://schemas.microsoft.com/office/powerpoint/2010/main" val="137840249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D66124C2-8024-4FE0-A9C8-31A6FDFB86B0}" type="datetime1">
              <a:rPr lang="en-US" smtClean="0"/>
              <a:t>3/27/2025</a:t>
            </a:fld>
            <a:endParaRPr lang="en-US"/>
          </a:p>
        </p:txBody>
      </p:sp>
    </p:spTree>
    <p:extLst>
      <p:ext uri="{BB962C8B-B14F-4D97-AF65-F5344CB8AC3E}">
        <p14:creationId xmlns:p14="http://schemas.microsoft.com/office/powerpoint/2010/main" val="89979611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75006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4 Optum, Inc. All rights reserved. </a:t>
            </a:r>
          </a:p>
        </p:txBody>
      </p:sp>
    </p:spTree>
    <p:extLst>
      <p:ext uri="{BB962C8B-B14F-4D97-AF65-F5344CB8AC3E}">
        <p14:creationId xmlns:p14="http://schemas.microsoft.com/office/powerpoint/2010/main" val="22315372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4</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421497" y="4243004"/>
            <a:ext cx="3310128" cy="1859623"/>
          </a:xfrm>
          <a:prstGeom prst="rect">
            <a:avLst/>
          </a:prstGeom>
          <a:ln w="6350">
            <a:solidFill>
              <a:schemeClr val="accent2"/>
            </a:solidFill>
          </a:ln>
        </p:spPr>
      </p:pic>
      <p:pic>
        <p:nvPicPr>
          <p:cNvPr id="3" name="Picture 2">
            <a:extLst>
              <a:ext uri="{FF2B5EF4-FFF2-40B4-BE49-F238E27FC236}">
                <a16:creationId xmlns:a16="http://schemas.microsoft.com/office/drawing/2014/main" id="{EB8C1BEC-5C50-EC82-6813-2CCF2BF25A5A}"/>
              </a:ext>
              <a:ext uri="{C183D7F6-B498-43B3-948B-1728B52AA6E4}">
                <adec:decorative xmlns:adec="http://schemas.microsoft.com/office/drawing/2017/decorative" val="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121966" y="525529"/>
            <a:ext cx="6609660" cy="3725696"/>
          </a:xfrm>
          <a:prstGeom prst="rect">
            <a:avLst/>
          </a:prstGeom>
          <a:ln w="6350">
            <a:solidFill>
              <a:schemeClr val="accent2"/>
            </a:solidFill>
          </a:ln>
        </p:spPr>
      </p:pic>
    </p:spTree>
    <p:extLst>
      <p:ext uri="{BB962C8B-B14F-4D97-AF65-F5344CB8AC3E}">
        <p14:creationId xmlns:p14="http://schemas.microsoft.com/office/powerpoint/2010/main" val="15925019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sp>
        <p:nvSpPr>
          <p:cNvPr id="10" name="Freeform 11">
            <a:extLst>
              <a:ext uri="{FF2B5EF4-FFF2-40B4-BE49-F238E27FC236}">
                <a16:creationId xmlns:a16="http://schemas.microsoft.com/office/drawing/2014/main" id="{018ADF08-66C4-7A27-5941-438B95462BC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0"/>
            <a:ext cx="6037330" cy="6858000"/>
          </a:xfrm>
          <a:custGeom>
            <a:avLst/>
            <a:gdLst>
              <a:gd name="connsiteX0" fmla="*/ 0 w 6037330"/>
              <a:gd name="connsiteY0" fmla="*/ 0 h 6858000"/>
              <a:gd name="connsiteX1" fmla="*/ 3835988 w 6037330"/>
              <a:gd name="connsiteY1" fmla="*/ 0 h 6858000"/>
              <a:gd name="connsiteX2" fmla="*/ 4114800 w 6037330"/>
              <a:gd name="connsiteY2" fmla="*/ 0 h 6858000"/>
              <a:gd name="connsiteX3" fmla="*/ 6037330 w 6037330"/>
              <a:gd name="connsiteY3" fmla="*/ 0 h 6858000"/>
              <a:gd name="connsiteX4" fmla="*/ 5982904 w 6037330"/>
              <a:gd name="connsiteY4" fmla="*/ 57086 h 6858000"/>
              <a:gd name="connsiteX5" fmla="*/ 4680119 w 6037330"/>
              <a:gd name="connsiteY5" fmla="*/ 3429000 h 6858000"/>
              <a:gd name="connsiteX6" fmla="*/ 5982904 w 6037330"/>
              <a:gd name="connsiteY6" fmla="*/ 6800914 h 6858000"/>
              <a:gd name="connsiteX7" fmla="*/ 6037330 w 6037330"/>
              <a:gd name="connsiteY7" fmla="*/ 6858000 h 6858000"/>
              <a:gd name="connsiteX8" fmla="*/ 4114800 w 6037330"/>
              <a:gd name="connsiteY8" fmla="*/ 6858000 h 6858000"/>
              <a:gd name="connsiteX9" fmla="*/ 3835988 w 6037330"/>
              <a:gd name="connsiteY9" fmla="*/ 6858000 h 6858000"/>
              <a:gd name="connsiteX10" fmla="*/ 0 w 603733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37330" h="6858000">
                <a:moveTo>
                  <a:pt x="0" y="0"/>
                </a:moveTo>
                <a:lnTo>
                  <a:pt x="3835988" y="0"/>
                </a:lnTo>
                <a:lnTo>
                  <a:pt x="4114800" y="0"/>
                </a:lnTo>
                <a:lnTo>
                  <a:pt x="6037330" y="0"/>
                </a:lnTo>
                <a:lnTo>
                  <a:pt x="5982904" y="57086"/>
                </a:lnTo>
                <a:cubicBezTo>
                  <a:pt x="5173461" y="947670"/>
                  <a:pt x="4680119" y="2130722"/>
                  <a:pt x="4680119" y="3429000"/>
                </a:cubicBezTo>
                <a:cubicBezTo>
                  <a:pt x="4680119" y="4727278"/>
                  <a:pt x="5173461" y="5910330"/>
                  <a:pt x="5982904" y="6800914"/>
                </a:cubicBezTo>
                <a:lnTo>
                  <a:pt x="6037330" y="6858000"/>
                </a:lnTo>
                <a:lnTo>
                  <a:pt x="4114800" y="6858000"/>
                </a:lnTo>
                <a:lnTo>
                  <a:pt x="3835988" y="6858000"/>
                </a:lnTo>
                <a:lnTo>
                  <a:pt x="0" y="6858000"/>
                </a:ln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12" name="Optum logo" descr="Optum">
            <a:extLst>
              <a:ext uri="{FF2B5EF4-FFF2-40B4-BE49-F238E27FC236}">
                <a16:creationId xmlns:a16="http://schemas.microsoft.com/office/drawing/2014/main" id="{FA968874-41BB-1E3A-AF0C-1B4952106FCF}"/>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937990" y="3019667"/>
            <a:ext cx="2827394" cy="818667"/>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6594904" y="1649301"/>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6594904" y="3834665"/>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6594904" y="5396367"/>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D5255B-62C8-4970-931D-B77163B385B9}" type="datetime1">
              <a:rPr lang="en-US" smtClean="0"/>
              <a:t>3/27/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0981742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152">
          <p15:clr>
            <a:srgbClr val="FFC000"/>
          </p15:clr>
        </p15:guide>
        <p15:guide id="2" pos="7120">
          <p15:clr>
            <a:srgbClr val="FFC000"/>
          </p15:clr>
        </p15:guide>
        <p15:guide id="3" orient="horz" pos="2216">
          <p15:clr>
            <a:srgbClr val="FFC000"/>
          </p15:clr>
        </p15:guide>
        <p15:guide id="4" orient="horz" pos="2408">
          <p15:clr>
            <a:srgbClr val="FFC00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61343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sp>
        <p:nvSpPr>
          <p:cNvPr id="10" name="Freeform 11">
            <a:extLst>
              <a:ext uri="{FF2B5EF4-FFF2-40B4-BE49-F238E27FC236}">
                <a16:creationId xmlns:a16="http://schemas.microsoft.com/office/drawing/2014/main" id="{018ADF08-66C4-7A27-5941-438B95462BC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0"/>
            <a:ext cx="6037330" cy="6858000"/>
          </a:xfrm>
          <a:custGeom>
            <a:avLst/>
            <a:gdLst>
              <a:gd name="connsiteX0" fmla="*/ 0 w 6037330"/>
              <a:gd name="connsiteY0" fmla="*/ 0 h 6858000"/>
              <a:gd name="connsiteX1" fmla="*/ 3835988 w 6037330"/>
              <a:gd name="connsiteY1" fmla="*/ 0 h 6858000"/>
              <a:gd name="connsiteX2" fmla="*/ 4114800 w 6037330"/>
              <a:gd name="connsiteY2" fmla="*/ 0 h 6858000"/>
              <a:gd name="connsiteX3" fmla="*/ 6037330 w 6037330"/>
              <a:gd name="connsiteY3" fmla="*/ 0 h 6858000"/>
              <a:gd name="connsiteX4" fmla="*/ 5982904 w 6037330"/>
              <a:gd name="connsiteY4" fmla="*/ 57086 h 6858000"/>
              <a:gd name="connsiteX5" fmla="*/ 4680119 w 6037330"/>
              <a:gd name="connsiteY5" fmla="*/ 3429000 h 6858000"/>
              <a:gd name="connsiteX6" fmla="*/ 5982904 w 6037330"/>
              <a:gd name="connsiteY6" fmla="*/ 6800914 h 6858000"/>
              <a:gd name="connsiteX7" fmla="*/ 6037330 w 6037330"/>
              <a:gd name="connsiteY7" fmla="*/ 6858000 h 6858000"/>
              <a:gd name="connsiteX8" fmla="*/ 4114800 w 6037330"/>
              <a:gd name="connsiteY8" fmla="*/ 6858000 h 6858000"/>
              <a:gd name="connsiteX9" fmla="*/ 3835988 w 6037330"/>
              <a:gd name="connsiteY9" fmla="*/ 6858000 h 6858000"/>
              <a:gd name="connsiteX10" fmla="*/ 0 w 603733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37330" h="6858000">
                <a:moveTo>
                  <a:pt x="0" y="0"/>
                </a:moveTo>
                <a:lnTo>
                  <a:pt x="3835988" y="0"/>
                </a:lnTo>
                <a:lnTo>
                  <a:pt x="4114800" y="0"/>
                </a:lnTo>
                <a:lnTo>
                  <a:pt x="6037330" y="0"/>
                </a:lnTo>
                <a:lnTo>
                  <a:pt x="5982904" y="57086"/>
                </a:lnTo>
                <a:cubicBezTo>
                  <a:pt x="5173461" y="947670"/>
                  <a:pt x="4680119" y="2130722"/>
                  <a:pt x="4680119" y="3429000"/>
                </a:cubicBezTo>
                <a:cubicBezTo>
                  <a:pt x="4680119" y="4727278"/>
                  <a:pt x="5173461" y="5910330"/>
                  <a:pt x="5982904" y="6800914"/>
                </a:cubicBezTo>
                <a:lnTo>
                  <a:pt x="6037330" y="6858000"/>
                </a:lnTo>
                <a:lnTo>
                  <a:pt x="4114800" y="6858000"/>
                </a:lnTo>
                <a:lnTo>
                  <a:pt x="3835988" y="6858000"/>
                </a:lnTo>
                <a:lnTo>
                  <a:pt x="0" y="6858000"/>
                </a:ln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12" name="Optum logo" descr="Optum">
            <a:extLst>
              <a:ext uri="{FF2B5EF4-FFF2-40B4-BE49-F238E27FC236}">
                <a16:creationId xmlns:a16="http://schemas.microsoft.com/office/drawing/2014/main" id="{FA968874-41BB-1E3A-AF0C-1B4952106FCF}"/>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937990" y="3019667"/>
            <a:ext cx="2827394" cy="818667"/>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6594904" y="1649301"/>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6594904" y="3834665"/>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6594904" y="5396367"/>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D5255B-62C8-4970-931D-B77163B385B9}" type="datetime1">
              <a:rPr lang="en-US" smtClean="0"/>
              <a:t>3/27/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565581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152">
          <p15:clr>
            <a:srgbClr val="FFC000"/>
          </p15:clr>
        </p15:guide>
        <p15:guide id="2" pos="7120">
          <p15:clr>
            <a:srgbClr val="FFC000"/>
          </p15:clr>
        </p15:guide>
        <p15:guide id="3" orient="horz" pos="2216">
          <p15:clr>
            <a:srgbClr val="FFC000"/>
          </p15:clr>
        </p15:guide>
        <p15:guide id="4" orient="horz" pos="2408">
          <p15:clr>
            <a:srgbClr val="FFC00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02">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2375092" y="231766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2375092" y="3898459"/>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2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2375091" y="4992329"/>
            <a:ext cx="73152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4" name="Freeform: Shape 13">
            <a:extLst>
              <a:ext uri="{FF2B5EF4-FFF2-40B4-BE49-F238E27FC236}">
                <a16:creationId xmlns:a16="http://schemas.microsoft.com/office/drawing/2014/main" id="{F33E8723-94DB-5556-1A86-67D45CBF982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3907075"/>
            <a:ext cx="12188952" cy="2950926"/>
          </a:xfrm>
          <a:custGeom>
            <a:avLst/>
            <a:gdLst>
              <a:gd name="connsiteX0" fmla="*/ 12188952 w 12188952"/>
              <a:gd name="connsiteY0" fmla="*/ 0 h 2950926"/>
              <a:gd name="connsiteX1" fmla="*/ 12188952 w 12188952"/>
              <a:gd name="connsiteY1" fmla="*/ 2950926 h 2950926"/>
              <a:gd name="connsiteX2" fmla="*/ 0 w 12188952"/>
              <a:gd name="connsiteY2" fmla="*/ 2950926 h 2950926"/>
              <a:gd name="connsiteX3" fmla="*/ 0 w 12188952"/>
              <a:gd name="connsiteY3" fmla="*/ 1951527 h 2950926"/>
              <a:gd name="connsiteX4" fmla="*/ 170764 w 12188952"/>
              <a:gd name="connsiteY4" fmla="*/ 2006967 h 2950926"/>
              <a:gd name="connsiteX5" fmla="*/ 4194949 w 12188952"/>
              <a:gd name="connsiteY5" fmla="*/ 2615366 h 2950926"/>
              <a:gd name="connsiteX6" fmla="*/ 11761160 w 12188952"/>
              <a:gd name="connsiteY6" fmla="*/ 304209 h 29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2950926">
                <a:moveTo>
                  <a:pt x="12188952" y="0"/>
                </a:moveTo>
                <a:lnTo>
                  <a:pt x="12188952" y="2950926"/>
                </a:lnTo>
                <a:lnTo>
                  <a:pt x="0" y="2950926"/>
                </a:lnTo>
                <a:lnTo>
                  <a:pt x="0" y="1951527"/>
                </a:lnTo>
                <a:lnTo>
                  <a:pt x="170764" y="2006967"/>
                </a:lnTo>
                <a:cubicBezTo>
                  <a:pt x="1442002" y="2402363"/>
                  <a:pt x="2793601" y="2615366"/>
                  <a:pt x="4194949" y="2615366"/>
                </a:cubicBezTo>
                <a:cubicBezTo>
                  <a:pt x="6997644" y="2615366"/>
                  <a:pt x="9601341" y="1763354"/>
                  <a:pt x="11761160" y="304209"/>
                </a:cubicBez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7F9D45FD-5E41-4099-8C3D-34BB181680CA}" type="datetime1">
              <a:rPr lang="en-US" smtClean="0"/>
              <a:t>3/27/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6986912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1496">
          <p15:clr>
            <a:srgbClr val="FBAE40"/>
          </p15:clr>
        </p15:guide>
        <p15:guide id="3" orient="horz" pos="2246">
          <p15:clr>
            <a:srgbClr val="FBAE40"/>
          </p15:clr>
        </p15:guide>
        <p15:guide id="4" orient="horz" pos="2447">
          <p15:clr>
            <a:srgbClr val="FBAE40"/>
          </p15:clr>
        </p15:guide>
        <p15:guide id="5" pos="610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0" name="Date Placeholder 9">
            <a:extLst>
              <a:ext uri="{FF2B5EF4-FFF2-40B4-BE49-F238E27FC236}">
                <a16:creationId xmlns:a16="http://schemas.microsoft.com/office/drawing/2014/main" id="{D64D994A-1F86-650F-91D1-D9CF4A6D5AF1}"/>
              </a:ext>
            </a:extLst>
          </p:cNvPr>
          <p:cNvSpPr>
            <a:spLocks noGrp="1"/>
          </p:cNvSpPr>
          <p:nvPr>
            <p:ph type="dt" sz="half" idx="16"/>
          </p:nvPr>
        </p:nvSpPr>
        <p:spPr/>
        <p:txBody>
          <a:bodyPr/>
          <a:lstStyle/>
          <a:p>
            <a:fld id="{2BDFFDD4-3B43-4355-8C7D-FBA6FB7C7EF0}" type="datetime1">
              <a:rPr lang="en-US" smtClean="0"/>
              <a:t>3/27/2025</a:t>
            </a:fld>
            <a:endParaRPr lang="en-US"/>
          </a:p>
        </p:txBody>
      </p:sp>
      <p:sp>
        <p:nvSpPr>
          <p:cNvPr id="12" name="Footer Placeholder 11">
            <a:extLst>
              <a:ext uri="{FF2B5EF4-FFF2-40B4-BE49-F238E27FC236}">
                <a16:creationId xmlns:a16="http://schemas.microsoft.com/office/drawing/2014/main" id="{97300FDB-6AA7-7D29-6E6C-DAB8AF3C6B3B}"/>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3" name="Slide Number Placeholder 12">
            <a:extLst>
              <a:ext uri="{FF2B5EF4-FFF2-40B4-BE49-F238E27FC236}">
                <a16:creationId xmlns:a16="http://schemas.microsoft.com/office/drawing/2014/main" id="{7FADA5F4-B71C-E968-5670-1EEE3C6C9F2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07406164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602CFF5-9BBC-863E-C089-A676996FA394}"/>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14B58E5A-BF8F-9CC6-1870-BB7839F7C399}"/>
              </a:ext>
            </a:extLst>
          </p:cNvPr>
          <p:cNvSpPr>
            <a:spLocks noGrp="1"/>
          </p:cNvSpPr>
          <p:nvPr>
            <p:ph type="dt" sz="half" idx="16"/>
          </p:nvPr>
        </p:nvSpPr>
        <p:spPr/>
        <p:txBody>
          <a:bodyPr/>
          <a:lstStyle/>
          <a:p>
            <a:fld id="{6B8B65AB-8101-4603-8392-5337355D955B}" type="datetime1">
              <a:rPr lang="en-US" smtClean="0"/>
              <a:t>3/27/2025</a:t>
            </a:fld>
            <a:endParaRPr lang="en-US"/>
          </a:p>
        </p:txBody>
      </p:sp>
      <p:sp>
        <p:nvSpPr>
          <p:cNvPr id="4" name="Footer Placeholder 3">
            <a:extLst>
              <a:ext uri="{FF2B5EF4-FFF2-40B4-BE49-F238E27FC236}">
                <a16:creationId xmlns:a16="http://schemas.microsoft.com/office/drawing/2014/main" id="{5CCAC17E-165F-4D50-26D1-8EE65CB27552}"/>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E64404C2-5DC8-B39C-1165-3141C2711ECC}"/>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02735317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ver 05">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3" name="Date Placeholder 12">
            <a:extLst>
              <a:ext uri="{FF2B5EF4-FFF2-40B4-BE49-F238E27FC236}">
                <a16:creationId xmlns:a16="http://schemas.microsoft.com/office/drawing/2014/main" id="{B3E840D2-D053-6E6F-0B27-C096734737F9}"/>
              </a:ext>
            </a:extLst>
          </p:cNvPr>
          <p:cNvSpPr>
            <a:spLocks noGrp="1"/>
          </p:cNvSpPr>
          <p:nvPr>
            <p:ph type="dt" sz="half" idx="16"/>
          </p:nvPr>
        </p:nvSpPr>
        <p:spPr/>
        <p:txBody>
          <a:bodyPr/>
          <a:lstStyle/>
          <a:p>
            <a:fld id="{79F95C81-D4B2-49D0-968C-E1F3D64A3D27}" type="datetime1">
              <a:rPr lang="en-US" smtClean="0"/>
              <a:t>3/27/2025</a:t>
            </a:fld>
            <a:endParaRPr lang="en-US"/>
          </a:p>
        </p:txBody>
      </p:sp>
      <p:sp>
        <p:nvSpPr>
          <p:cNvPr id="14" name="Footer Placeholder 13">
            <a:extLst>
              <a:ext uri="{FF2B5EF4-FFF2-40B4-BE49-F238E27FC236}">
                <a16:creationId xmlns:a16="http://schemas.microsoft.com/office/drawing/2014/main" id="{8EE78183-D8BF-5FE0-7735-D8FFB8197C80}"/>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2507B2F4-B4AF-C862-4E69-D674DC62159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40797538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3" name="Picture Placeholder 12">
            <a:extLst>
              <a:ext uri="{FF2B5EF4-FFF2-40B4-BE49-F238E27FC236}">
                <a16:creationId xmlns:a16="http://schemas.microsoft.com/office/drawing/2014/main" id="{D42CBABA-1415-19BE-D237-380FC8DEF6DE}"/>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DCF03D0B-5402-EF45-D126-86ACF7A1BEBD}"/>
              </a:ext>
            </a:extLst>
          </p:cNvPr>
          <p:cNvSpPr>
            <a:spLocks noGrp="1"/>
          </p:cNvSpPr>
          <p:nvPr>
            <p:ph type="dt" sz="half" idx="16"/>
          </p:nvPr>
        </p:nvSpPr>
        <p:spPr/>
        <p:txBody>
          <a:bodyPr/>
          <a:lstStyle/>
          <a:p>
            <a:fld id="{555A700A-DE3D-4C25-9F30-4012DF69D24E}" type="datetime1">
              <a:rPr lang="en-US" smtClean="0"/>
              <a:t>3/27/2025</a:t>
            </a:fld>
            <a:endParaRPr lang="en-US"/>
          </a:p>
        </p:txBody>
      </p:sp>
      <p:sp>
        <p:nvSpPr>
          <p:cNvPr id="4" name="Footer Placeholder 3">
            <a:extLst>
              <a:ext uri="{FF2B5EF4-FFF2-40B4-BE49-F238E27FC236}">
                <a16:creationId xmlns:a16="http://schemas.microsoft.com/office/drawing/2014/main" id="{1FF9B01D-9565-F36F-8010-39CED224AA25}"/>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FE5BA348-E888-6410-6785-0BF3F28CBCE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07278292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07">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9" name="Date Placeholder 8">
            <a:extLst>
              <a:ext uri="{FF2B5EF4-FFF2-40B4-BE49-F238E27FC236}">
                <a16:creationId xmlns:a16="http://schemas.microsoft.com/office/drawing/2014/main" id="{52474C07-8F5D-CC3D-9724-9A29EA763F79}"/>
              </a:ext>
            </a:extLst>
          </p:cNvPr>
          <p:cNvSpPr>
            <a:spLocks noGrp="1"/>
          </p:cNvSpPr>
          <p:nvPr>
            <p:ph type="dt" sz="half" idx="16"/>
          </p:nvPr>
        </p:nvSpPr>
        <p:spPr/>
        <p:txBody>
          <a:bodyPr/>
          <a:lstStyle/>
          <a:p>
            <a:fld id="{C7CE0BA8-CBFE-4EDD-9053-90766C8BBA05}" type="datetime1">
              <a:rPr lang="en-US" smtClean="0"/>
              <a:t>3/27/2025</a:t>
            </a:fld>
            <a:endParaRPr lang="en-US"/>
          </a:p>
        </p:txBody>
      </p:sp>
      <p:sp>
        <p:nvSpPr>
          <p:cNvPr id="10" name="Footer Placeholder 9">
            <a:extLst>
              <a:ext uri="{FF2B5EF4-FFF2-40B4-BE49-F238E27FC236}">
                <a16:creationId xmlns:a16="http://schemas.microsoft.com/office/drawing/2014/main" id="{D471F904-8B56-7EFA-3473-9DFAE1BFA581}"/>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2" name="Slide Number Placeholder 11">
            <a:extLst>
              <a:ext uri="{FF2B5EF4-FFF2-40B4-BE49-F238E27FC236}">
                <a16:creationId xmlns:a16="http://schemas.microsoft.com/office/drawing/2014/main" id="{FC8C7DF5-F873-F2E9-CB9E-9C8CF17D2CC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92552143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ver 08">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93E2B6F-B0F8-598A-12EC-0815E7654FD0}"/>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9696FBF0-1B42-325E-9531-A33DF9031814}"/>
              </a:ext>
            </a:extLst>
          </p:cNvPr>
          <p:cNvSpPr>
            <a:spLocks noGrp="1"/>
          </p:cNvSpPr>
          <p:nvPr>
            <p:ph type="dt" sz="half" idx="16"/>
          </p:nvPr>
        </p:nvSpPr>
        <p:spPr/>
        <p:txBody>
          <a:bodyPr/>
          <a:lstStyle/>
          <a:p>
            <a:fld id="{31D07194-3FCF-4B6D-B722-EDAE00F746E4}" type="datetime1">
              <a:rPr lang="en-US" smtClean="0"/>
              <a:t>3/27/2025</a:t>
            </a:fld>
            <a:endParaRPr lang="en-US"/>
          </a:p>
        </p:txBody>
      </p:sp>
      <p:sp>
        <p:nvSpPr>
          <p:cNvPr id="4" name="Footer Placeholder 3">
            <a:extLst>
              <a:ext uri="{FF2B5EF4-FFF2-40B4-BE49-F238E27FC236}">
                <a16:creationId xmlns:a16="http://schemas.microsoft.com/office/drawing/2014/main" id="{E529C78D-F523-2F5F-AF8F-9D18AFD1F748}"/>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2483F371-F5E3-E66E-2FC2-36252A822E65}"/>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50295433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62411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02">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2375092" y="231766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2375092" y="3898459"/>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2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2375091" y="4992329"/>
            <a:ext cx="73152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4" name="Freeform: Shape 13">
            <a:extLst>
              <a:ext uri="{FF2B5EF4-FFF2-40B4-BE49-F238E27FC236}">
                <a16:creationId xmlns:a16="http://schemas.microsoft.com/office/drawing/2014/main" id="{F33E8723-94DB-5556-1A86-67D45CBF982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3907075"/>
            <a:ext cx="12188952" cy="2950926"/>
          </a:xfrm>
          <a:custGeom>
            <a:avLst/>
            <a:gdLst>
              <a:gd name="connsiteX0" fmla="*/ 12188952 w 12188952"/>
              <a:gd name="connsiteY0" fmla="*/ 0 h 2950926"/>
              <a:gd name="connsiteX1" fmla="*/ 12188952 w 12188952"/>
              <a:gd name="connsiteY1" fmla="*/ 2950926 h 2950926"/>
              <a:gd name="connsiteX2" fmla="*/ 0 w 12188952"/>
              <a:gd name="connsiteY2" fmla="*/ 2950926 h 2950926"/>
              <a:gd name="connsiteX3" fmla="*/ 0 w 12188952"/>
              <a:gd name="connsiteY3" fmla="*/ 1951527 h 2950926"/>
              <a:gd name="connsiteX4" fmla="*/ 170764 w 12188952"/>
              <a:gd name="connsiteY4" fmla="*/ 2006967 h 2950926"/>
              <a:gd name="connsiteX5" fmla="*/ 4194949 w 12188952"/>
              <a:gd name="connsiteY5" fmla="*/ 2615366 h 2950926"/>
              <a:gd name="connsiteX6" fmla="*/ 11761160 w 12188952"/>
              <a:gd name="connsiteY6" fmla="*/ 304209 h 29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2950926">
                <a:moveTo>
                  <a:pt x="12188952" y="0"/>
                </a:moveTo>
                <a:lnTo>
                  <a:pt x="12188952" y="2950926"/>
                </a:lnTo>
                <a:lnTo>
                  <a:pt x="0" y="2950926"/>
                </a:lnTo>
                <a:lnTo>
                  <a:pt x="0" y="1951527"/>
                </a:lnTo>
                <a:lnTo>
                  <a:pt x="170764" y="2006967"/>
                </a:lnTo>
                <a:cubicBezTo>
                  <a:pt x="1442002" y="2402363"/>
                  <a:pt x="2793601" y="2615366"/>
                  <a:pt x="4194949" y="2615366"/>
                </a:cubicBezTo>
                <a:cubicBezTo>
                  <a:pt x="6997644" y="2615366"/>
                  <a:pt x="9601341" y="1763354"/>
                  <a:pt x="11761160" y="304209"/>
                </a:cubicBez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7F9D45FD-5E41-4099-8C3D-34BB181680CA}" type="datetime1">
              <a:rPr lang="en-US" smtClean="0"/>
              <a:t>3/27/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2263775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1496">
          <p15:clr>
            <a:srgbClr val="FBAE40"/>
          </p15:clr>
        </p15:guide>
        <p15:guide id="3" orient="horz" pos="2246">
          <p15:clr>
            <a:srgbClr val="FBAE40"/>
          </p15:clr>
        </p15:guide>
        <p15:guide id="4" orient="horz" pos="2447">
          <p15:clr>
            <a:srgbClr val="FBAE40"/>
          </p15:clr>
        </p15:guide>
        <p15:guide id="5" pos="610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7/2025</a:t>
            </a:fld>
            <a:endParaRPr lang="en-US"/>
          </a:p>
        </p:txBody>
      </p:sp>
    </p:spTree>
    <p:extLst>
      <p:ext uri="{BB962C8B-B14F-4D97-AF65-F5344CB8AC3E}">
        <p14:creationId xmlns:p14="http://schemas.microsoft.com/office/powerpoint/2010/main" val="29586396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A231FC8-4CC9-4D4D-9D42-4100B12BBFD2}" type="datetime1">
              <a:rPr lang="en-US" smtClean="0"/>
              <a:t>3/27/2025</a:t>
            </a:fld>
            <a:endParaRPr lang="en-US"/>
          </a:p>
        </p:txBody>
      </p:sp>
    </p:spTree>
    <p:extLst>
      <p:ext uri="{BB962C8B-B14F-4D97-AF65-F5344CB8AC3E}">
        <p14:creationId xmlns:p14="http://schemas.microsoft.com/office/powerpoint/2010/main" val="33273070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53588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99AD85F-304C-4BF5-94FB-50C7E84ED8FF}" type="datetime1">
              <a:rPr lang="en-US" smtClean="0"/>
              <a:t>3/27/2025</a:t>
            </a:fld>
            <a:endParaRPr lang="en-US"/>
          </a:p>
        </p:txBody>
      </p:sp>
    </p:spTree>
    <p:extLst>
      <p:ext uri="{BB962C8B-B14F-4D97-AF65-F5344CB8AC3E}">
        <p14:creationId xmlns:p14="http://schemas.microsoft.com/office/powerpoint/2010/main" val="984399500"/>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C49669F-A6B0-45C8-9E96-E3ECF646095E}" type="datetime1">
              <a:rPr lang="en-US" smtClean="0"/>
              <a:t>3/27/2025</a:t>
            </a:fld>
            <a:endParaRPr lang="en-US"/>
          </a:p>
        </p:txBody>
      </p:sp>
    </p:spTree>
    <p:extLst>
      <p:ext uri="{BB962C8B-B14F-4D97-AF65-F5344CB8AC3E}">
        <p14:creationId xmlns:p14="http://schemas.microsoft.com/office/powerpoint/2010/main" val="124528168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7/2025</a:t>
            </a:fld>
            <a:endParaRPr lang="en-US"/>
          </a:p>
        </p:txBody>
      </p:sp>
    </p:spTree>
    <p:extLst>
      <p:ext uri="{BB962C8B-B14F-4D97-AF65-F5344CB8AC3E}">
        <p14:creationId xmlns:p14="http://schemas.microsoft.com/office/powerpoint/2010/main" val="3919010788"/>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8F7E04CA-C30D-40A2-B51C-2DAC9C9B2D09}" type="datetime1">
              <a:rPr lang="en-US" smtClean="0"/>
              <a:t>3/27/2025</a:t>
            </a:fld>
            <a:endParaRPr lang="en-US"/>
          </a:p>
        </p:txBody>
      </p:sp>
    </p:spTree>
    <p:extLst>
      <p:ext uri="{BB962C8B-B14F-4D97-AF65-F5344CB8AC3E}">
        <p14:creationId xmlns:p14="http://schemas.microsoft.com/office/powerpoint/2010/main" val="46960482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8F242276-4B37-464E-82B5-A2CCFA8D2047}" type="datetime1">
              <a:rPr lang="en-US" smtClean="0"/>
              <a:t>3/27/2025</a:t>
            </a:fld>
            <a:endParaRPr lang="en-US"/>
          </a:p>
        </p:txBody>
      </p:sp>
    </p:spTree>
    <p:extLst>
      <p:ext uri="{BB962C8B-B14F-4D97-AF65-F5344CB8AC3E}">
        <p14:creationId xmlns:p14="http://schemas.microsoft.com/office/powerpoint/2010/main" val="1664636599"/>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114485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AC1A5A6-F2E7-4A6D-960D-C8D830EDC445}" type="datetime1">
              <a:rPr lang="en-US" smtClean="0"/>
              <a:t>3/27/2025</a:t>
            </a:fld>
            <a:endParaRPr lang="en-US"/>
          </a:p>
        </p:txBody>
      </p:sp>
    </p:spTree>
    <p:extLst>
      <p:ext uri="{BB962C8B-B14F-4D97-AF65-F5344CB8AC3E}">
        <p14:creationId xmlns:p14="http://schemas.microsoft.com/office/powerpoint/2010/main" val="2655511895"/>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0" name="Date Placeholder 9">
            <a:extLst>
              <a:ext uri="{FF2B5EF4-FFF2-40B4-BE49-F238E27FC236}">
                <a16:creationId xmlns:a16="http://schemas.microsoft.com/office/drawing/2014/main" id="{D64D994A-1F86-650F-91D1-D9CF4A6D5AF1}"/>
              </a:ext>
            </a:extLst>
          </p:cNvPr>
          <p:cNvSpPr>
            <a:spLocks noGrp="1"/>
          </p:cNvSpPr>
          <p:nvPr>
            <p:ph type="dt" sz="half" idx="16"/>
          </p:nvPr>
        </p:nvSpPr>
        <p:spPr/>
        <p:txBody>
          <a:bodyPr/>
          <a:lstStyle/>
          <a:p>
            <a:fld id="{2BDFFDD4-3B43-4355-8C7D-FBA6FB7C7EF0}" type="datetime1">
              <a:rPr lang="en-US" smtClean="0"/>
              <a:t>3/27/2025</a:t>
            </a:fld>
            <a:endParaRPr lang="en-US"/>
          </a:p>
        </p:txBody>
      </p:sp>
      <p:sp>
        <p:nvSpPr>
          <p:cNvPr id="12" name="Footer Placeholder 11">
            <a:extLst>
              <a:ext uri="{FF2B5EF4-FFF2-40B4-BE49-F238E27FC236}">
                <a16:creationId xmlns:a16="http://schemas.microsoft.com/office/drawing/2014/main" id="{97300FDB-6AA7-7D29-6E6C-DAB8AF3C6B3B}"/>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3" name="Slide Number Placeholder 12">
            <a:extLst>
              <a:ext uri="{FF2B5EF4-FFF2-40B4-BE49-F238E27FC236}">
                <a16:creationId xmlns:a16="http://schemas.microsoft.com/office/drawing/2014/main" id="{7FADA5F4-B71C-E968-5670-1EEE3C6C9F2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57664555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EDB376A-9CC0-4260-A1FB-E4D7D3B0E9C8}" type="datetime1">
              <a:rPr lang="en-US" smtClean="0"/>
              <a:t>3/27/2025</a:t>
            </a:fld>
            <a:endParaRPr lang="en-US"/>
          </a:p>
        </p:txBody>
      </p:sp>
    </p:spTree>
    <p:extLst>
      <p:ext uri="{BB962C8B-B14F-4D97-AF65-F5344CB8AC3E}">
        <p14:creationId xmlns:p14="http://schemas.microsoft.com/office/powerpoint/2010/main" val="53660967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8DFD118-AC3B-49F2-BA0B-7B9DF70B8F3E}" type="datetime1">
              <a:rPr lang="en-US" smtClean="0"/>
              <a:t>3/27/2025</a:t>
            </a:fld>
            <a:endParaRPr lang="en-US"/>
          </a:p>
        </p:txBody>
      </p:sp>
    </p:spTree>
    <p:extLst>
      <p:ext uri="{BB962C8B-B14F-4D97-AF65-F5344CB8AC3E}">
        <p14:creationId xmlns:p14="http://schemas.microsoft.com/office/powerpoint/2010/main" val="228368889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9F7F53CA-DA9B-42DE-BC32-1FB13BF92AF8}" type="datetime1">
              <a:rPr lang="en-US" smtClean="0"/>
              <a:t>3/27/2025</a:t>
            </a:fld>
            <a:endParaRPr lang="en-US"/>
          </a:p>
        </p:txBody>
      </p:sp>
    </p:spTree>
    <p:extLst>
      <p:ext uri="{BB962C8B-B14F-4D97-AF65-F5344CB8AC3E}">
        <p14:creationId xmlns:p14="http://schemas.microsoft.com/office/powerpoint/2010/main" val="1795161299"/>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087FC9B-1C7F-4ADF-9DC1-8BD3DCF6C9B1}" type="datetime1">
              <a:rPr lang="en-US" smtClean="0"/>
              <a:t>3/27/2025</a:t>
            </a:fld>
            <a:endParaRPr lang="en-US"/>
          </a:p>
        </p:txBody>
      </p:sp>
    </p:spTree>
    <p:extLst>
      <p:ext uri="{BB962C8B-B14F-4D97-AF65-F5344CB8AC3E}">
        <p14:creationId xmlns:p14="http://schemas.microsoft.com/office/powerpoint/2010/main" val="177864024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D66124C2-8024-4FE0-A9C8-31A6FDFB86B0}" type="datetime1">
              <a:rPr lang="en-US" smtClean="0"/>
              <a:t>3/27/2025</a:t>
            </a:fld>
            <a:endParaRPr lang="en-US"/>
          </a:p>
        </p:txBody>
      </p:sp>
    </p:spTree>
    <p:extLst>
      <p:ext uri="{BB962C8B-B14F-4D97-AF65-F5344CB8AC3E}">
        <p14:creationId xmlns:p14="http://schemas.microsoft.com/office/powerpoint/2010/main" val="417664877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637795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4 Optum, Inc. All rights reserved. </a:t>
            </a:r>
          </a:p>
        </p:txBody>
      </p:sp>
    </p:spTree>
    <p:extLst>
      <p:ext uri="{BB962C8B-B14F-4D97-AF65-F5344CB8AC3E}">
        <p14:creationId xmlns:p14="http://schemas.microsoft.com/office/powerpoint/2010/main" val="29063437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93836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F162BC2A-6E37-4CC1-B6FC-7AA5CD4A505C}" type="datetime1">
              <a:rPr lang="en-US" smtClean="0"/>
              <a:t>3/27/2025</a:t>
            </a:fld>
            <a:endParaRPr lang="en-US"/>
          </a:p>
        </p:txBody>
      </p:sp>
    </p:spTree>
    <p:extLst>
      <p:ext uri="{BB962C8B-B14F-4D97-AF65-F5344CB8AC3E}">
        <p14:creationId xmlns:p14="http://schemas.microsoft.com/office/powerpoint/2010/main" val="89994110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905E7EE1-CC23-4392-A75F-0151249E6FE6}" type="datetime1">
              <a:rPr lang="en-US" smtClean="0"/>
              <a:t>3/27/2025</a:t>
            </a:fld>
            <a:endParaRPr lang="en-US"/>
          </a:p>
        </p:txBody>
      </p:sp>
    </p:spTree>
    <p:extLst>
      <p:ext uri="{BB962C8B-B14F-4D97-AF65-F5344CB8AC3E}">
        <p14:creationId xmlns:p14="http://schemas.microsoft.com/office/powerpoint/2010/main" val="232363147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602CFF5-9BBC-863E-C089-A676996FA394}"/>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14B58E5A-BF8F-9CC6-1870-BB7839F7C399}"/>
              </a:ext>
            </a:extLst>
          </p:cNvPr>
          <p:cNvSpPr>
            <a:spLocks noGrp="1"/>
          </p:cNvSpPr>
          <p:nvPr>
            <p:ph type="dt" sz="half" idx="16"/>
          </p:nvPr>
        </p:nvSpPr>
        <p:spPr/>
        <p:txBody>
          <a:bodyPr/>
          <a:lstStyle/>
          <a:p>
            <a:fld id="{6B8B65AB-8101-4603-8392-5337355D955B}" type="datetime1">
              <a:rPr lang="en-US" smtClean="0"/>
              <a:t>3/27/2025</a:t>
            </a:fld>
            <a:endParaRPr lang="en-US"/>
          </a:p>
        </p:txBody>
      </p:sp>
      <p:sp>
        <p:nvSpPr>
          <p:cNvPr id="4" name="Footer Placeholder 3">
            <a:extLst>
              <a:ext uri="{FF2B5EF4-FFF2-40B4-BE49-F238E27FC236}">
                <a16:creationId xmlns:a16="http://schemas.microsoft.com/office/drawing/2014/main" id="{5CCAC17E-165F-4D50-26D1-8EE65CB27552}"/>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E64404C2-5DC8-B39C-1165-3141C2711ECC}"/>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53943232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C7E67C32-0E3A-477C-8FCF-E79CE5312C46}" type="datetime1">
              <a:rPr lang="en-US" smtClean="0"/>
              <a:t>3/27/2025</a:t>
            </a:fld>
            <a:endParaRPr lang="en-US"/>
          </a:p>
        </p:txBody>
      </p:sp>
    </p:spTree>
    <p:extLst>
      <p:ext uri="{BB962C8B-B14F-4D97-AF65-F5344CB8AC3E}">
        <p14:creationId xmlns:p14="http://schemas.microsoft.com/office/powerpoint/2010/main" val="59480886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0756414A-3F0D-460A-95CF-C7910A70C1D4}" type="datetime1">
              <a:rPr lang="en-US" smtClean="0"/>
              <a:t>3/27/2025</a:t>
            </a:fld>
            <a:endParaRPr lang="en-US"/>
          </a:p>
        </p:txBody>
      </p:sp>
    </p:spTree>
    <p:extLst>
      <p:ext uri="{BB962C8B-B14F-4D97-AF65-F5344CB8AC3E}">
        <p14:creationId xmlns:p14="http://schemas.microsoft.com/office/powerpoint/2010/main" val="96497684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91743E0-E954-4790-A436-446467232A0A}" type="datetime1">
              <a:rPr lang="en-US" smtClean="0"/>
              <a:t>3/27/2025</a:t>
            </a:fld>
            <a:endParaRPr lang="en-US"/>
          </a:p>
        </p:txBody>
      </p:sp>
    </p:spTree>
    <p:extLst>
      <p:ext uri="{BB962C8B-B14F-4D97-AF65-F5344CB8AC3E}">
        <p14:creationId xmlns:p14="http://schemas.microsoft.com/office/powerpoint/2010/main" val="95940504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1AE5C768-D019-4ED7-8F7F-FAE1BFA84AC6}" type="datetime1">
              <a:rPr lang="en-US" smtClean="0"/>
              <a:t>3/27/2025</a:t>
            </a:fld>
            <a:endParaRPr lang="en-US"/>
          </a:p>
        </p:txBody>
      </p:sp>
    </p:spTree>
    <p:extLst>
      <p:ext uri="{BB962C8B-B14F-4D97-AF65-F5344CB8AC3E}">
        <p14:creationId xmlns:p14="http://schemas.microsoft.com/office/powerpoint/2010/main" val="283760754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4CE34731-28BB-4E54-A569-1972AD05E047}" type="datetime1">
              <a:rPr lang="en-US" smtClean="0"/>
              <a:t>3/27/2025</a:t>
            </a:fld>
            <a:endParaRPr lang="en-US"/>
          </a:p>
        </p:txBody>
      </p:sp>
    </p:spTree>
    <p:extLst>
      <p:ext uri="{BB962C8B-B14F-4D97-AF65-F5344CB8AC3E}">
        <p14:creationId xmlns:p14="http://schemas.microsoft.com/office/powerpoint/2010/main" val="33933091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99AD85F-304C-4BF5-94FB-50C7E84ED8FF}" type="datetime1">
              <a:rPr lang="en-US" smtClean="0"/>
              <a:t>3/27/2025</a:t>
            </a:fld>
            <a:endParaRPr lang="en-US"/>
          </a:p>
        </p:txBody>
      </p:sp>
    </p:spTree>
    <p:extLst>
      <p:ext uri="{BB962C8B-B14F-4D97-AF65-F5344CB8AC3E}">
        <p14:creationId xmlns:p14="http://schemas.microsoft.com/office/powerpoint/2010/main" val="51801338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7/2025</a:t>
            </a:fld>
            <a:endParaRPr lang="en-US"/>
          </a:p>
        </p:txBody>
      </p:sp>
    </p:spTree>
    <p:extLst>
      <p:ext uri="{BB962C8B-B14F-4D97-AF65-F5344CB8AC3E}">
        <p14:creationId xmlns:p14="http://schemas.microsoft.com/office/powerpoint/2010/main" val="108928547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3211725" cy="769441"/>
          </a:xfrm>
          <a:prstGeom prst="rect">
            <a:avLst/>
          </a:prstGeom>
          <a:noFill/>
        </p:spPr>
        <p:txBody>
          <a:bodyPr wrap="square" lIns="0" tIns="0" rIns="0" bIns="0" rtlCol="0">
            <a:spAutoFit/>
          </a:bodyPr>
          <a:lstStyle/>
          <a:p>
            <a:pPr algn="l">
              <a:spcBef>
                <a:spcPts val="714"/>
              </a:spcBef>
            </a:pPr>
            <a:r>
              <a:rPr lang="en-US" sz="5000" b="1">
                <a:solidFill>
                  <a:schemeClr val="accent6"/>
                </a:solidFill>
              </a:rPr>
              <a:t>On-screen</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051507"/>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template</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5</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3" name="Picture 2">
            <a:extLst>
              <a:ext uri="{FF2B5EF4-FFF2-40B4-BE49-F238E27FC236}">
                <a16:creationId xmlns:a16="http://schemas.microsoft.com/office/drawing/2014/main" id="{EB8C1BEC-5C50-EC82-6813-2CCF2BF25A5A}"/>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rcRect l="7" r="7"/>
          <a:stretch/>
        </p:blipFill>
        <p:spPr>
          <a:xfrm>
            <a:off x="5121966" y="525529"/>
            <a:ext cx="6608741" cy="3725696"/>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rcRect r="17"/>
          <a:stretch/>
        </p:blipFill>
        <p:spPr bwMode="gray">
          <a:xfrm>
            <a:off x="5122888" y="4245508"/>
            <a:ext cx="3298222"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21497" y="4243004"/>
            <a:ext cx="3310128" cy="1859623"/>
          </a:xfrm>
          <a:prstGeom prst="rect">
            <a:avLst/>
          </a:prstGeom>
          <a:ln w="6350">
            <a:solidFill>
              <a:schemeClr val="accent2"/>
            </a:solidFill>
          </a:ln>
        </p:spPr>
      </p:pic>
    </p:spTree>
    <p:extLst>
      <p:ext uri="{BB962C8B-B14F-4D97-AF65-F5344CB8AC3E}">
        <p14:creationId xmlns:p14="http://schemas.microsoft.com/office/powerpoint/2010/main" val="38229044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57285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sp>
        <p:nvSpPr>
          <p:cNvPr id="10" name="Freeform 11">
            <a:extLst>
              <a:ext uri="{FF2B5EF4-FFF2-40B4-BE49-F238E27FC236}">
                <a16:creationId xmlns:a16="http://schemas.microsoft.com/office/drawing/2014/main" id="{018ADF08-66C4-7A27-5941-438B95462BC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0"/>
            <a:ext cx="6037330" cy="6858000"/>
          </a:xfrm>
          <a:custGeom>
            <a:avLst/>
            <a:gdLst>
              <a:gd name="connsiteX0" fmla="*/ 0 w 6037330"/>
              <a:gd name="connsiteY0" fmla="*/ 0 h 6858000"/>
              <a:gd name="connsiteX1" fmla="*/ 3835988 w 6037330"/>
              <a:gd name="connsiteY1" fmla="*/ 0 h 6858000"/>
              <a:gd name="connsiteX2" fmla="*/ 4114800 w 6037330"/>
              <a:gd name="connsiteY2" fmla="*/ 0 h 6858000"/>
              <a:gd name="connsiteX3" fmla="*/ 6037330 w 6037330"/>
              <a:gd name="connsiteY3" fmla="*/ 0 h 6858000"/>
              <a:gd name="connsiteX4" fmla="*/ 5982904 w 6037330"/>
              <a:gd name="connsiteY4" fmla="*/ 57086 h 6858000"/>
              <a:gd name="connsiteX5" fmla="*/ 4680119 w 6037330"/>
              <a:gd name="connsiteY5" fmla="*/ 3429000 h 6858000"/>
              <a:gd name="connsiteX6" fmla="*/ 5982904 w 6037330"/>
              <a:gd name="connsiteY6" fmla="*/ 6800914 h 6858000"/>
              <a:gd name="connsiteX7" fmla="*/ 6037330 w 6037330"/>
              <a:gd name="connsiteY7" fmla="*/ 6858000 h 6858000"/>
              <a:gd name="connsiteX8" fmla="*/ 4114800 w 6037330"/>
              <a:gd name="connsiteY8" fmla="*/ 6858000 h 6858000"/>
              <a:gd name="connsiteX9" fmla="*/ 3835988 w 6037330"/>
              <a:gd name="connsiteY9" fmla="*/ 6858000 h 6858000"/>
              <a:gd name="connsiteX10" fmla="*/ 0 w 603733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37330" h="6858000">
                <a:moveTo>
                  <a:pt x="0" y="0"/>
                </a:moveTo>
                <a:lnTo>
                  <a:pt x="3835988" y="0"/>
                </a:lnTo>
                <a:lnTo>
                  <a:pt x="4114800" y="0"/>
                </a:lnTo>
                <a:lnTo>
                  <a:pt x="6037330" y="0"/>
                </a:lnTo>
                <a:lnTo>
                  <a:pt x="5982904" y="57086"/>
                </a:lnTo>
                <a:cubicBezTo>
                  <a:pt x="5173461" y="947670"/>
                  <a:pt x="4680119" y="2130722"/>
                  <a:pt x="4680119" y="3429000"/>
                </a:cubicBezTo>
                <a:cubicBezTo>
                  <a:pt x="4680119" y="4727278"/>
                  <a:pt x="5173461" y="5910330"/>
                  <a:pt x="5982904" y="6800914"/>
                </a:cubicBezTo>
                <a:lnTo>
                  <a:pt x="6037330" y="6858000"/>
                </a:lnTo>
                <a:lnTo>
                  <a:pt x="4114800" y="6858000"/>
                </a:lnTo>
                <a:lnTo>
                  <a:pt x="3835988" y="6858000"/>
                </a:lnTo>
                <a:lnTo>
                  <a:pt x="0" y="6858000"/>
                </a:ln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 name="Optum logo" descr="Optum">
            <a:extLst>
              <a:ext uri="{FF2B5EF4-FFF2-40B4-BE49-F238E27FC236}">
                <a16:creationId xmlns:a16="http://schemas.microsoft.com/office/drawing/2014/main" id="{FA968874-41BB-1E3A-AF0C-1B4952106FCF}"/>
              </a:ext>
              <a:ext uri="{C183D7F6-B498-43B3-948B-1728B52AA6E4}">
                <adec:decorative xmlns:adec="http://schemas.microsoft.com/office/drawing/2017/decorative" val="0"/>
              </a:ext>
            </a:extLst>
          </p:cNvPr>
          <p:cNvSpPr/>
          <p:nvPr/>
        </p:nvSpPr>
        <p:spPr>
          <a:xfrm>
            <a:off x="937990" y="3019667"/>
            <a:ext cx="2827354" cy="819585"/>
          </a:xfrm>
          <a:custGeom>
            <a:avLst/>
            <a:gdLst>
              <a:gd name="connsiteX0" fmla="*/ 2101736 w 2827354"/>
              <a:gd name="connsiteY0" fmla="*/ 633489 h 819585"/>
              <a:gd name="connsiteX1" fmla="*/ 2101736 w 2827354"/>
              <a:gd name="connsiteY1" fmla="*/ 153909 h 819585"/>
              <a:gd name="connsiteX2" fmla="*/ 2253848 w 2827354"/>
              <a:gd name="connsiteY2" fmla="*/ 153909 h 819585"/>
              <a:gd name="connsiteX3" fmla="*/ 2254727 w 2827354"/>
              <a:gd name="connsiteY3" fmla="*/ 211176 h 819585"/>
              <a:gd name="connsiteX4" fmla="*/ 2381800 w 2827354"/>
              <a:gd name="connsiteY4" fmla="*/ 146761 h 819585"/>
              <a:gd name="connsiteX5" fmla="*/ 2518697 w 2827354"/>
              <a:gd name="connsiteY5" fmla="*/ 224594 h 819585"/>
              <a:gd name="connsiteX6" fmla="*/ 2665418 w 2827354"/>
              <a:gd name="connsiteY6" fmla="*/ 146761 h 819585"/>
              <a:gd name="connsiteX7" fmla="*/ 2827354 w 2827354"/>
              <a:gd name="connsiteY7" fmla="*/ 324831 h 819585"/>
              <a:gd name="connsiteX8" fmla="*/ 2827354 w 2827354"/>
              <a:gd name="connsiteY8" fmla="*/ 633528 h 819585"/>
              <a:gd name="connsiteX9" fmla="*/ 2672566 w 2827354"/>
              <a:gd name="connsiteY9" fmla="*/ 633528 h 819585"/>
              <a:gd name="connsiteX10" fmla="*/ 2672566 w 2827354"/>
              <a:gd name="connsiteY10" fmla="*/ 348073 h 819585"/>
              <a:gd name="connsiteX11" fmla="*/ 2607233 w 2827354"/>
              <a:gd name="connsiteY11" fmla="*/ 273794 h 819585"/>
              <a:gd name="connsiteX12" fmla="*/ 2541899 w 2827354"/>
              <a:gd name="connsiteY12" fmla="*/ 348073 h 819585"/>
              <a:gd name="connsiteX13" fmla="*/ 2541899 w 2827354"/>
              <a:gd name="connsiteY13" fmla="*/ 633489 h 819585"/>
              <a:gd name="connsiteX14" fmla="*/ 2387111 w 2827354"/>
              <a:gd name="connsiteY14" fmla="*/ 633489 h 819585"/>
              <a:gd name="connsiteX15" fmla="*/ 2387111 w 2827354"/>
              <a:gd name="connsiteY15" fmla="*/ 348073 h 819585"/>
              <a:gd name="connsiteX16" fmla="*/ 2321778 w 2827354"/>
              <a:gd name="connsiteY16" fmla="*/ 273794 h 819585"/>
              <a:gd name="connsiteX17" fmla="*/ 2256444 w 2827354"/>
              <a:gd name="connsiteY17" fmla="*/ 348073 h 819585"/>
              <a:gd name="connsiteX18" fmla="*/ 2256444 w 2827354"/>
              <a:gd name="connsiteY18" fmla="*/ 633489 h 819585"/>
              <a:gd name="connsiteX19" fmla="*/ 2101736 w 2827354"/>
              <a:gd name="connsiteY19" fmla="*/ 633489 h 819585"/>
              <a:gd name="connsiteX20" fmla="*/ 2049861 w 2827354"/>
              <a:gd name="connsiteY20" fmla="*/ 450946 h 819585"/>
              <a:gd name="connsiteX21" fmla="*/ 1826185 w 2827354"/>
              <a:gd name="connsiteY21" fmla="*/ 644231 h 819585"/>
              <a:gd name="connsiteX22" fmla="*/ 1602509 w 2827354"/>
              <a:gd name="connsiteY22" fmla="*/ 450946 h 819585"/>
              <a:gd name="connsiteX23" fmla="*/ 1602509 w 2827354"/>
              <a:gd name="connsiteY23" fmla="*/ 153909 h 819585"/>
              <a:gd name="connsiteX24" fmla="*/ 1758216 w 2827354"/>
              <a:gd name="connsiteY24" fmla="*/ 153909 h 819585"/>
              <a:gd name="connsiteX25" fmla="*/ 1758216 w 2827354"/>
              <a:gd name="connsiteY25" fmla="*/ 446513 h 819585"/>
              <a:gd name="connsiteX26" fmla="*/ 1826225 w 2827354"/>
              <a:gd name="connsiteY26" fmla="*/ 515401 h 819585"/>
              <a:gd name="connsiteX27" fmla="*/ 1894234 w 2827354"/>
              <a:gd name="connsiteY27" fmla="*/ 446513 h 819585"/>
              <a:gd name="connsiteX28" fmla="*/ 1894234 w 2827354"/>
              <a:gd name="connsiteY28" fmla="*/ 153909 h 819585"/>
              <a:gd name="connsiteX29" fmla="*/ 2049941 w 2827354"/>
              <a:gd name="connsiteY29" fmla="*/ 153909 h 819585"/>
              <a:gd name="connsiteX30" fmla="*/ 2049941 w 2827354"/>
              <a:gd name="connsiteY30" fmla="*/ 450946 h 819585"/>
              <a:gd name="connsiteX31" fmla="*/ 1560418 w 2827354"/>
              <a:gd name="connsiteY31" fmla="*/ 277388 h 819585"/>
              <a:gd name="connsiteX32" fmla="*/ 1560418 w 2827354"/>
              <a:gd name="connsiteY32" fmla="*/ 153909 h 819585"/>
              <a:gd name="connsiteX33" fmla="*/ 1432467 w 2827354"/>
              <a:gd name="connsiteY33" fmla="*/ 153909 h 819585"/>
              <a:gd name="connsiteX34" fmla="*/ 1432467 w 2827354"/>
              <a:gd name="connsiteY34" fmla="*/ 31309 h 819585"/>
              <a:gd name="connsiteX35" fmla="*/ 1277679 w 2827354"/>
              <a:gd name="connsiteY35" fmla="*/ 31309 h 819585"/>
              <a:gd name="connsiteX36" fmla="*/ 1277679 w 2827354"/>
              <a:gd name="connsiteY36" fmla="*/ 461688 h 819585"/>
              <a:gd name="connsiteX37" fmla="*/ 1461978 w 2827354"/>
              <a:gd name="connsiteY37" fmla="*/ 640637 h 819585"/>
              <a:gd name="connsiteX38" fmla="*/ 1560418 w 2827354"/>
              <a:gd name="connsiteY38" fmla="*/ 624543 h 819585"/>
              <a:gd name="connsiteX39" fmla="*/ 1560418 w 2827354"/>
              <a:gd name="connsiteY39" fmla="*/ 501943 h 819585"/>
              <a:gd name="connsiteX40" fmla="*/ 1501354 w 2827354"/>
              <a:gd name="connsiteY40" fmla="*/ 511767 h 819585"/>
              <a:gd name="connsiteX41" fmla="*/ 1432467 w 2827354"/>
              <a:gd name="connsiteY41" fmla="*/ 449149 h 819585"/>
              <a:gd name="connsiteX42" fmla="*/ 1432467 w 2827354"/>
              <a:gd name="connsiteY42" fmla="*/ 277388 h 819585"/>
              <a:gd name="connsiteX43" fmla="*/ 1560418 w 2827354"/>
              <a:gd name="connsiteY43" fmla="*/ 277388 h 819585"/>
              <a:gd name="connsiteX44" fmla="*/ 1081758 w 2827354"/>
              <a:gd name="connsiteY44" fmla="*/ 393679 h 819585"/>
              <a:gd name="connsiteX45" fmla="*/ 969900 w 2827354"/>
              <a:gd name="connsiteY45" fmla="*/ 513564 h 819585"/>
              <a:gd name="connsiteX46" fmla="*/ 857164 w 2827354"/>
              <a:gd name="connsiteY46" fmla="*/ 393679 h 819585"/>
              <a:gd name="connsiteX47" fmla="*/ 969900 w 2827354"/>
              <a:gd name="connsiteY47" fmla="*/ 274673 h 819585"/>
              <a:gd name="connsiteX48" fmla="*/ 1081758 w 2827354"/>
              <a:gd name="connsiteY48" fmla="*/ 393679 h 819585"/>
              <a:gd name="connsiteX49" fmla="*/ 857164 w 2827354"/>
              <a:gd name="connsiteY49" fmla="*/ 819586 h 819585"/>
              <a:gd name="connsiteX50" fmla="*/ 857164 w 2827354"/>
              <a:gd name="connsiteY50" fmla="*/ 583370 h 819585"/>
              <a:gd name="connsiteX51" fmla="*/ 1005682 w 2827354"/>
              <a:gd name="connsiteY51" fmla="*/ 641515 h 819585"/>
              <a:gd name="connsiteX52" fmla="*/ 1237424 w 2827354"/>
              <a:gd name="connsiteY52" fmla="*/ 393679 h 819585"/>
              <a:gd name="connsiteX53" fmla="*/ 1005682 w 2827354"/>
              <a:gd name="connsiteY53" fmla="*/ 146721 h 819585"/>
              <a:gd name="connsiteX54" fmla="*/ 852691 w 2827354"/>
              <a:gd name="connsiteY54" fmla="*/ 209339 h 819585"/>
              <a:gd name="connsiteX55" fmla="*/ 851812 w 2827354"/>
              <a:gd name="connsiteY55" fmla="*/ 153869 h 819585"/>
              <a:gd name="connsiteX56" fmla="*/ 701497 w 2827354"/>
              <a:gd name="connsiteY56" fmla="*/ 153869 h 819585"/>
              <a:gd name="connsiteX57" fmla="*/ 701497 w 2827354"/>
              <a:gd name="connsiteY57" fmla="*/ 819586 h 819585"/>
              <a:gd name="connsiteX58" fmla="*/ 857164 w 2827354"/>
              <a:gd name="connsiteY58" fmla="*/ 819586 h 819585"/>
              <a:gd name="connsiteX59" fmla="*/ 490321 w 2827354"/>
              <a:gd name="connsiteY59" fmla="*/ 320318 h 819585"/>
              <a:gd name="connsiteX60" fmla="*/ 327467 w 2827354"/>
              <a:gd name="connsiteY60" fmla="*/ 492119 h 819585"/>
              <a:gd name="connsiteX61" fmla="*/ 164612 w 2827354"/>
              <a:gd name="connsiteY61" fmla="*/ 320318 h 819585"/>
              <a:gd name="connsiteX62" fmla="*/ 327467 w 2827354"/>
              <a:gd name="connsiteY62" fmla="*/ 148518 h 819585"/>
              <a:gd name="connsiteX63" fmla="*/ 490321 w 2827354"/>
              <a:gd name="connsiteY63" fmla="*/ 320318 h 819585"/>
              <a:gd name="connsiteX64" fmla="*/ 327467 w 2827354"/>
              <a:gd name="connsiteY64" fmla="*/ 0 h 819585"/>
              <a:gd name="connsiteX65" fmla="*/ 0 w 2827354"/>
              <a:gd name="connsiteY65" fmla="*/ 320318 h 819585"/>
              <a:gd name="connsiteX66" fmla="*/ 327467 w 2827354"/>
              <a:gd name="connsiteY66" fmla="*/ 640637 h 819585"/>
              <a:gd name="connsiteX67" fmla="*/ 654933 w 2827354"/>
              <a:gd name="connsiteY67" fmla="*/ 320318 h 819585"/>
              <a:gd name="connsiteX68" fmla="*/ 327467 w 2827354"/>
              <a:gd name="connsiteY68" fmla="*/ 0 h 81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827354" h="819585">
                <a:moveTo>
                  <a:pt x="2101736" y="633489"/>
                </a:moveTo>
                <a:lnTo>
                  <a:pt x="2101736" y="153909"/>
                </a:lnTo>
                <a:lnTo>
                  <a:pt x="2253848" y="153909"/>
                </a:lnTo>
                <a:lnTo>
                  <a:pt x="2254727" y="211176"/>
                </a:lnTo>
                <a:cubicBezTo>
                  <a:pt x="2285157" y="167328"/>
                  <a:pt x="2329885" y="146761"/>
                  <a:pt x="2381800" y="146761"/>
                </a:cubicBezTo>
                <a:cubicBezTo>
                  <a:pt x="2447134" y="146761"/>
                  <a:pt x="2493658" y="177191"/>
                  <a:pt x="2518697" y="224594"/>
                </a:cubicBezTo>
                <a:cubicBezTo>
                  <a:pt x="2549127" y="172679"/>
                  <a:pt x="2606394" y="146761"/>
                  <a:pt x="2665418" y="146761"/>
                </a:cubicBezTo>
                <a:cubicBezTo>
                  <a:pt x="2770088" y="146761"/>
                  <a:pt x="2827354" y="225513"/>
                  <a:pt x="2827354" y="324831"/>
                </a:cubicBezTo>
                <a:lnTo>
                  <a:pt x="2827354" y="633528"/>
                </a:lnTo>
                <a:lnTo>
                  <a:pt x="2672566" y="633528"/>
                </a:lnTo>
                <a:lnTo>
                  <a:pt x="2672566" y="348073"/>
                </a:lnTo>
                <a:cubicBezTo>
                  <a:pt x="2672566" y="301549"/>
                  <a:pt x="2643055" y="273794"/>
                  <a:pt x="2607233" y="273794"/>
                </a:cubicBezTo>
                <a:cubicBezTo>
                  <a:pt x="2571411" y="273794"/>
                  <a:pt x="2541899" y="301549"/>
                  <a:pt x="2541899" y="348073"/>
                </a:cubicBezTo>
                <a:lnTo>
                  <a:pt x="2541899" y="633489"/>
                </a:lnTo>
                <a:lnTo>
                  <a:pt x="2387111" y="633489"/>
                </a:lnTo>
                <a:lnTo>
                  <a:pt x="2387111" y="348073"/>
                </a:lnTo>
                <a:cubicBezTo>
                  <a:pt x="2387111" y="301549"/>
                  <a:pt x="2357599" y="273794"/>
                  <a:pt x="2321778" y="273794"/>
                </a:cubicBezTo>
                <a:cubicBezTo>
                  <a:pt x="2285996" y="273794"/>
                  <a:pt x="2256444" y="301549"/>
                  <a:pt x="2256444" y="348073"/>
                </a:cubicBezTo>
                <a:lnTo>
                  <a:pt x="2256444" y="633489"/>
                </a:lnTo>
                <a:lnTo>
                  <a:pt x="2101736" y="633489"/>
                </a:lnTo>
                <a:close/>
                <a:moveTo>
                  <a:pt x="2049861" y="450946"/>
                </a:moveTo>
                <a:cubicBezTo>
                  <a:pt x="2049861" y="574425"/>
                  <a:pt x="1951421" y="644231"/>
                  <a:pt x="1826185" y="644231"/>
                </a:cubicBezTo>
                <a:cubicBezTo>
                  <a:pt x="1700909" y="644231"/>
                  <a:pt x="1602509" y="574425"/>
                  <a:pt x="1602509" y="450946"/>
                </a:cubicBezTo>
                <a:lnTo>
                  <a:pt x="1602509" y="153909"/>
                </a:lnTo>
                <a:lnTo>
                  <a:pt x="1758216" y="153909"/>
                </a:lnTo>
                <a:lnTo>
                  <a:pt x="1758216" y="446513"/>
                </a:lnTo>
                <a:cubicBezTo>
                  <a:pt x="1758216" y="488564"/>
                  <a:pt x="1785971" y="515401"/>
                  <a:pt x="1826225" y="515401"/>
                </a:cubicBezTo>
                <a:cubicBezTo>
                  <a:pt x="1866479" y="515401"/>
                  <a:pt x="1894234" y="488564"/>
                  <a:pt x="1894234" y="446513"/>
                </a:cubicBezTo>
                <a:lnTo>
                  <a:pt x="1894234" y="153909"/>
                </a:lnTo>
                <a:lnTo>
                  <a:pt x="2049941" y="153909"/>
                </a:lnTo>
                <a:lnTo>
                  <a:pt x="2049941" y="450946"/>
                </a:lnTo>
                <a:close/>
                <a:moveTo>
                  <a:pt x="1560418" y="277388"/>
                </a:moveTo>
                <a:lnTo>
                  <a:pt x="1560418" y="153909"/>
                </a:lnTo>
                <a:lnTo>
                  <a:pt x="1432467" y="153909"/>
                </a:lnTo>
                <a:lnTo>
                  <a:pt x="1432467" y="31309"/>
                </a:lnTo>
                <a:lnTo>
                  <a:pt x="1277679" y="31309"/>
                </a:lnTo>
                <a:lnTo>
                  <a:pt x="1277679" y="461688"/>
                </a:lnTo>
                <a:cubicBezTo>
                  <a:pt x="1277679" y="580695"/>
                  <a:pt x="1348364" y="640637"/>
                  <a:pt x="1461978" y="640637"/>
                </a:cubicBezTo>
                <a:cubicBezTo>
                  <a:pt x="1495084" y="640637"/>
                  <a:pt x="1529988" y="637043"/>
                  <a:pt x="1560418" y="624543"/>
                </a:cubicBezTo>
                <a:lnTo>
                  <a:pt x="1560418" y="501943"/>
                </a:lnTo>
                <a:cubicBezTo>
                  <a:pt x="1538055" y="509091"/>
                  <a:pt x="1518367" y="511767"/>
                  <a:pt x="1501354" y="511767"/>
                </a:cubicBezTo>
                <a:cubicBezTo>
                  <a:pt x="1460181" y="511767"/>
                  <a:pt x="1432467" y="492957"/>
                  <a:pt x="1432467" y="449149"/>
                </a:cubicBezTo>
                <a:lnTo>
                  <a:pt x="1432467" y="277388"/>
                </a:lnTo>
                <a:lnTo>
                  <a:pt x="1560418" y="277388"/>
                </a:lnTo>
                <a:close/>
                <a:moveTo>
                  <a:pt x="1081758" y="393679"/>
                </a:moveTo>
                <a:cubicBezTo>
                  <a:pt x="1081758" y="462567"/>
                  <a:pt x="1031639" y="513564"/>
                  <a:pt x="969900" y="513564"/>
                </a:cubicBezTo>
                <a:cubicBezTo>
                  <a:pt x="907282" y="513564"/>
                  <a:pt x="857164" y="462567"/>
                  <a:pt x="857164" y="393679"/>
                </a:cubicBezTo>
                <a:cubicBezTo>
                  <a:pt x="857164" y="325670"/>
                  <a:pt x="907282" y="274673"/>
                  <a:pt x="969900" y="274673"/>
                </a:cubicBezTo>
                <a:cubicBezTo>
                  <a:pt x="1031639" y="274673"/>
                  <a:pt x="1081758" y="325710"/>
                  <a:pt x="1081758" y="393679"/>
                </a:cubicBezTo>
                <a:close/>
                <a:moveTo>
                  <a:pt x="857164" y="819586"/>
                </a:moveTo>
                <a:lnTo>
                  <a:pt x="857164" y="583370"/>
                </a:lnTo>
                <a:cubicBezTo>
                  <a:pt x="896540" y="620070"/>
                  <a:pt x="948415" y="641515"/>
                  <a:pt x="1005682" y="641515"/>
                </a:cubicBezTo>
                <a:cubicBezTo>
                  <a:pt x="1135430" y="641515"/>
                  <a:pt x="1237424" y="531455"/>
                  <a:pt x="1237424" y="393679"/>
                </a:cubicBezTo>
                <a:cubicBezTo>
                  <a:pt x="1237424" y="256782"/>
                  <a:pt x="1135430" y="146721"/>
                  <a:pt x="1005682" y="146721"/>
                </a:cubicBezTo>
                <a:cubicBezTo>
                  <a:pt x="945739" y="146721"/>
                  <a:pt x="892945" y="170003"/>
                  <a:pt x="852691" y="209339"/>
                </a:cubicBezTo>
                <a:lnTo>
                  <a:pt x="851812" y="153869"/>
                </a:lnTo>
                <a:lnTo>
                  <a:pt x="701497" y="153869"/>
                </a:lnTo>
                <a:lnTo>
                  <a:pt x="701497" y="819586"/>
                </a:lnTo>
                <a:lnTo>
                  <a:pt x="857164" y="819586"/>
                </a:lnTo>
                <a:close/>
                <a:moveTo>
                  <a:pt x="490321" y="320318"/>
                </a:moveTo>
                <a:cubicBezTo>
                  <a:pt x="490321" y="418758"/>
                  <a:pt x="417839" y="492119"/>
                  <a:pt x="327467" y="492119"/>
                </a:cubicBezTo>
                <a:cubicBezTo>
                  <a:pt x="237094" y="492119"/>
                  <a:pt x="164612" y="418758"/>
                  <a:pt x="164612" y="320318"/>
                </a:cubicBezTo>
                <a:cubicBezTo>
                  <a:pt x="164612" y="221879"/>
                  <a:pt x="237094" y="148518"/>
                  <a:pt x="327467" y="148518"/>
                </a:cubicBezTo>
                <a:cubicBezTo>
                  <a:pt x="417839" y="148518"/>
                  <a:pt x="490321" y="221919"/>
                  <a:pt x="490321" y="320318"/>
                </a:cubicBezTo>
                <a:close/>
                <a:moveTo>
                  <a:pt x="327467" y="0"/>
                </a:moveTo>
                <a:cubicBezTo>
                  <a:pt x="144045" y="0"/>
                  <a:pt x="0" y="142248"/>
                  <a:pt x="0" y="320318"/>
                </a:cubicBezTo>
                <a:cubicBezTo>
                  <a:pt x="0" y="498389"/>
                  <a:pt x="144045" y="640637"/>
                  <a:pt x="327467" y="640637"/>
                </a:cubicBezTo>
                <a:cubicBezTo>
                  <a:pt x="510888" y="640637"/>
                  <a:pt x="654933" y="498389"/>
                  <a:pt x="654933" y="320318"/>
                </a:cubicBezTo>
                <a:cubicBezTo>
                  <a:pt x="654933" y="142248"/>
                  <a:pt x="510888" y="0"/>
                  <a:pt x="327467" y="0"/>
                </a:cubicBezTo>
                <a:close/>
              </a:path>
            </a:pathLst>
          </a:custGeom>
          <a:solidFill>
            <a:schemeClr val="lt1"/>
          </a:solidFill>
          <a:ln w="18703"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6594904" y="1649301"/>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6594904" y="3834665"/>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6594904" y="5396367"/>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D5255B-62C8-4970-931D-B77163B385B9}" type="datetime1">
              <a:rPr lang="en-US" smtClean="0"/>
              <a:t>3/27/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4089294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152">
          <p15:clr>
            <a:srgbClr val="FFC000"/>
          </p15:clr>
        </p15:guide>
        <p15:guide id="2" pos="7120">
          <p15:clr>
            <a:srgbClr val="FFC000"/>
          </p15:clr>
        </p15:guide>
        <p15:guide id="3" orient="horz" pos="2216">
          <p15:clr>
            <a:srgbClr val="FFC000"/>
          </p15:clr>
        </p15:guide>
        <p15:guide id="4" orient="horz" pos="2408">
          <p15:clr>
            <a:srgbClr val="FFC00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05">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3" name="Date Placeholder 12">
            <a:extLst>
              <a:ext uri="{FF2B5EF4-FFF2-40B4-BE49-F238E27FC236}">
                <a16:creationId xmlns:a16="http://schemas.microsoft.com/office/drawing/2014/main" id="{B3E840D2-D053-6E6F-0B27-C096734737F9}"/>
              </a:ext>
            </a:extLst>
          </p:cNvPr>
          <p:cNvSpPr>
            <a:spLocks noGrp="1"/>
          </p:cNvSpPr>
          <p:nvPr>
            <p:ph type="dt" sz="half" idx="16"/>
          </p:nvPr>
        </p:nvSpPr>
        <p:spPr/>
        <p:txBody>
          <a:bodyPr/>
          <a:lstStyle/>
          <a:p>
            <a:fld id="{79F95C81-D4B2-49D0-968C-E1F3D64A3D27}" type="datetime1">
              <a:rPr lang="en-US" smtClean="0"/>
              <a:t>3/27/2025</a:t>
            </a:fld>
            <a:endParaRPr lang="en-US"/>
          </a:p>
        </p:txBody>
      </p:sp>
      <p:sp>
        <p:nvSpPr>
          <p:cNvPr id="14" name="Footer Placeholder 13">
            <a:extLst>
              <a:ext uri="{FF2B5EF4-FFF2-40B4-BE49-F238E27FC236}">
                <a16:creationId xmlns:a16="http://schemas.microsoft.com/office/drawing/2014/main" id="{8EE78183-D8BF-5FE0-7735-D8FFB8197C80}"/>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2507B2F4-B4AF-C862-4E69-D674DC62159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3208141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ver 02">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2375092" y="231766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2375092" y="3898459"/>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2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2375091" y="4992329"/>
            <a:ext cx="73152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4" name="Freeform: Shape 13">
            <a:extLst>
              <a:ext uri="{FF2B5EF4-FFF2-40B4-BE49-F238E27FC236}">
                <a16:creationId xmlns:a16="http://schemas.microsoft.com/office/drawing/2014/main" id="{F33E8723-94DB-5556-1A86-67D45CBF982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3907075"/>
            <a:ext cx="12188952" cy="2950926"/>
          </a:xfrm>
          <a:custGeom>
            <a:avLst/>
            <a:gdLst>
              <a:gd name="connsiteX0" fmla="*/ 12188952 w 12188952"/>
              <a:gd name="connsiteY0" fmla="*/ 0 h 2950926"/>
              <a:gd name="connsiteX1" fmla="*/ 12188952 w 12188952"/>
              <a:gd name="connsiteY1" fmla="*/ 2950926 h 2950926"/>
              <a:gd name="connsiteX2" fmla="*/ 0 w 12188952"/>
              <a:gd name="connsiteY2" fmla="*/ 2950926 h 2950926"/>
              <a:gd name="connsiteX3" fmla="*/ 0 w 12188952"/>
              <a:gd name="connsiteY3" fmla="*/ 1951527 h 2950926"/>
              <a:gd name="connsiteX4" fmla="*/ 170764 w 12188952"/>
              <a:gd name="connsiteY4" fmla="*/ 2006967 h 2950926"/>
              <a:gd name="connsiteX5" fmla="*/ 4194949 w 12188952"/>
              <a:gd name="connsiteY5" fmla="*/ 2615366 h 2950926"/>
              <a:gd name="connsiteX6" fmla="*/ 11761160 w 12188952"/>
              <a:gd name="connsiteY6" fmla="*/ 304209 h 29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2950926">
                <a:moveTo>
                  <a:pt x="12188952" y="0"/>
                </a:moveTo>
                <a:lnTo>
                  <a:pt x="12188952" y="2950926"/>
                </a:lnTo>
                <a:lnTo>
                  <a:pt x="0" y="2950926"/>
                </a:lnTo>
                <a:lnTo>
                  <a:pt x="0" y="1951527"/>
                </a:lnTo>
                <a:lnTo>
                  <a:pt x="170764" y="2006967"/>
                </a:lnTo>
                <a:cubicBezTo>
                  <a:pt x="1442002" y="2402363"/>
                  <a:pt x="2793601" y="2615366"/>
                  <a:pt x="4194949" y="2615366"/>
                </a:cubicBezTo>
                <a:cubicBezTo>
                  <a:pt x="6997644" y="2615366"/>
                  <a:pt x="9601341" y="1763354"/>
                  <a:pt x="11761160" y="304209"/>
                </a:cubicBez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7F9D45FD-5E41-4099-8C3D-34BB181680CA}" type="datetime1">
              <a:rPr lang="en-US" smtClean="0"/>
              <a:t>3/27/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3433268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1496">
          <p15:clr>
            <a:srgbClr val="FBAE40"/>
          </p15:clr>
        </p15:guide>
        <p15:guide id="3" orient="horz" pos="2246">
          <p15:clr>
            <a:srgbClr val="FBAE40"/>
          </p15:clr>
        </p15:guide>
        <p15:guide id="4" orient="horz" pos="2447">
          <p15:clr>
            <a:srgbClr val="FBAE40"/>
          </p15:clr>
        </p15:guide>
        <p15:guide id="5" pos="610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a:t>
            </a:r>
            <a:br>
              <a:rPr lang="en-US"/>
            </a:br>
            <a:br>
              <a:rPr lang="en-US"/>
            </a:br>
            <a:r>
              <a:rPr lang="en-US"/>
              <a:t>Navigate to the curated cover image options that downloaded with the template suite and chose the desired option. </a:t>
            </a:r>
            <a:br>
              <a:rPr lang="en-US"/>
            </a:br>
            <a:br>
              <a:rPr lang="en-US"/>
            </a:br>
            <a:br>
              <a:rPr lang="en-US"/>
            </a:br>
            <a:br>
              <a:rPr lang="en-US"/>
            </a:br>
            <a:br>
              <a:rPr lang="en-US"/>
            </a:br>
            <a:br>
              <a:rPr lang="en-US"/>
            </a:br>
            <a:br>
              <a:rPr lang="en-US"/>
            </a:br>
            <a:br>
              <a:rPr lang="en-US"/>
            </a:br>
            <a:br>
              <a:rPr lang="en-US"/>
            </a:br>
            <a:r>
              <a:rPr lang="en-US"/>
              <a:t>To access broader brand approved photography, visit: brand.optum.com/content/photography-library.</a:t>
            </a:r>
            <a:br>
              <a:rPr lang="en-US"/>
            </a:br>
            <a:br>
              <a:rPr lang="en-US"/>
            </a:br>
            <a:r>
              <a:rPr lang="en-US"/>
              <a:t>To access broader brand approved illustrations, visit: brand.optum.com/content/illustration-library. Once an illustration is downloaded, insert the SVG from within the PowerPoint folder.</a:t>
            </a:r>
          </a:p>
        </p:txBody>
      </p:sp>
      <p:sp>
        <p:nvSpPr>
          <p:cNvPr id="10" name="Date Placeholder 9">
            <a:extLst>
              <a:ext uri="{FF2B5EF4-FFF2-40B4-BE49-F238E27FC236}">
                <a16:creationId xmlns:a16="http://schemas.microsoft.com/office/drawing/2014/main" id="{D64D994A-1F86-650F-91D1-D9CF4A6D5AF1}"/>
              </a:ext>
            </a:extLst>
          </p:cNvPr>
          <p:cNvSpPr>
            <a:spLocks noGrp="1"/>
          </p:cNvSpPr>
          <p:nvPr>
            <p:ph type="dt" sz="half" idx="16"/>
          </p:nvPr>
        </p:nvSpPr>
        <p:spPr/>
        <p:txBody>
          <a:bodyPr/>
          <a:lstStyle/>
          <a:p>
            <a:fld id="{2BDFFDD4-3B43-4355-8C7D-FBA6FB7C7EF0}" type="datetime1">
              <a:rPr lang="en-US" smtClean="0"/>
              <a:t>3/27/2025</a:t>
            </a:fld>
            <a:endParaRPr lang="en-US"/>
          </a:p>
        </p:txBody>
      </p:sp>
      <p:sp>
        <p:nvSpPr>
          <p:cNvPr id="12" name="Footer Placeholder 11">
            <a:extLst>
              <a:ext uri="{FF2B5EF4-FFF2-40B4-BE49-F238E27FC236}">
                <a16:creationId xmlns:a16="http://schemas.microsoft.com/office/drawing/2014/main" id="{97300FDB-6AA7-7D29-6E6C-DAB8AF3C6B3B}"/>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3" name="Slide Number Placeholder 12">
            <a:extLst>
              <a:ext uri="{FF2B5EF4-FFF2-40B4-BE49-F238E27FC236}">
                <a16:creationId xmlns:a16="http://schemas.microsoft.com/office/drawing/2014/main" id="{7FADA5F4-B71C-E968-5670-1EEE3C6C9F2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61100063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602CFF5-9BBC-863E-C089-A676996FA394}"/>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a:t>
            </a:r>
            <a:br>
              <a:rPr lang="en-US"/>
            </a:br>
            <a:br>
              <a:rPr lang="en-US"/>
            </a:br>
            <a:r>
              <a:rPr lang="en-US"/>
              <a:t>Navigate to the curated cover image options that downloaded with the template suite and chose the desired option. </a:t>
            </a:r>
            <a:br>
              <a:rPr lang="en-US"/>
            </a:br>
            <a:br>
              <a:rPr lang="en-US"/>
            </a:br>
            <a:br>
              <a:rPr lang="en-US"/>
            </a:br>
            <a:br>
              <a:rPr lang="en-US"/>
            </a:br>
            <a:br>
              <a:rPr lang="en-US"/>
            </a:br>
            <a:br>
              <a:rPr lang="en-US"/>
            </a:br>
            <a:br>
              <a:rPr lang="en-US"/>
            </a:br>
            <a:br>
              <a:rPr lang="en-US"/>
            </a:br>
            <a:br>
              <a:rPr lang="en-US"/>
            </a:br>
            <a:r>
              <a:rPr lang="en-US"/>
              <a:t>To access broader brand approved photography, visit: brand.optum.com/content/photography-library.</a:t>
            </a:r>
            <a:br>
              <a:rPr lang="en-US"/>
            </a:br>
            <a:br>
              <a:rPr lang="en-US"/>
            </a:br>
            <a:r>
              <a:rPr lang="en-US"/>
              <a:t>To access broader brand approved illustrations, visit: brand.optum.com/content/illustration-library. Once an illustration is downloaded, insert the SVG from within the PowerPoint folder.</a:t>
            </a:r>
          </a:p>
        </p:txBody>
      </p:sp>
      <p:sp>
        <p:nvSpPr>
          <p:cNvPr id="3" name="Date Placeholder 2">
            <a:extLst>
              <a:ext uri="{FF2B5EF4-FFF2-40B4-BE49-F238E27FC236}">
                <a16:creationId xmlns:a16="http://schemas.microsoft.com/office/drawing/2014/main" id="{14B58E5A-BF8F-9CC6-1870-BB7839F7C399}"/>
              </a:ext>
            </a:extLst>
          </p:cNvPr>
          <p:cNvSpPr>
            <a:spLocks noGrp="1"/>
          </p:cNvSpPr>
          <p:nvPr>
            <p:ph type="dt" sz="half" idx="16"/>
          </p:nvPr>
        </p:nvSpPr>
        <p:spPr/>
        <p:txBody>
          <a:bodyPr/>
          <a:lstStyle/>
          <a:p>
            <a:fld id="{6B8B65AB-8101-4603-8392-5337355D955B}" type="datetime1">
              <a:rPr lang="en-US" smtClean="0"/>
              <a:t>3/27/2025</a:t>
            </a:fld>
            <a:endParaRPr lang="en-US"/>
          </a:p>
        </p:txBody>
      </p:sp>
      <p:sp>
        <p:nvSpPr>
          <p:cNvPr id="4" name="Footer Placeholder 3">
            <a:extLst>
              <a:ext uri="{FF2B5EF4-FFF2-40B4-BE49-F238E27FC236}">
                <a16:creationId xmlns:a16="http://schemas.microsoft.com/office/drawing/2014/main" id="{5CCAC17E-165F-4D50-26D1-8EE65CB27552}"/>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E64404C2-5DC8-B39C-1165-3141C2711ECC}"/>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22875123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a:t>
            </a:r>
            <a:br>
              <a:rPr lang="en-US"/>
            </a:br>
            <a:br>
              <a:rPr lang="en-US"/>
            </a:br>
            <a:r>
              <a:rPr lang="en-US"/>
              <a:t>Navigate to the curated cover image options that downloaded with the template suite and chose the desired option. </a:t>
            </a:r>
            <a:br>
              <a:rPr lang="en-US"/>
            </a:br>
            <a:br>
              <a:rPr lang="en-US"/>
            </a:br>
            <a:br>
              <a:rPr lang="en-US"/>
            </a:br>
            <a:br>
              <a:rPr lang="en-US"/>
            </a:br>
            <a:br>
              <a:rPr lang="en-US"/>
            </a:br>
            <a:br>
              <a:rPr lang="en-US"/>
            </a:br>
            <a:br>
              <a:rPr lang="en-US"/>
            </a:br>
            <a:br>
              <a:rPr lang="en-US"/>
            </a:br>
            <a:br>
              <a:rPr lang="en-US"/>
            </a:br>
            <a:r>
              <a:rPr lang="en-US"/>
              <a:t>To access broader brand approved photography, visit: brand.optum.com/content/photography-library.</a:t>
            </a:r>
            <a:br>
              <a:rPr lang="en-US"/>
            </a:br>
            <a:br>
              <a:rPr lang="en-US"/>
            </a:br>
            <a:r>
              <a:rPr lang="en-US"/>
              <a:t>To access broader brand approved illustrations, visit: brand.optum.com/content/illustration-library. Once an illustration is downloaded, insert the SVG from within the PowerPoint folder.</a:t>
            </a:r>
          </a:p>
        </p:txBody>
      </p:sp>
      <p:sp>
        <p:nvSpPr>
          <p:cNvPr id="9" name="Date Placeholder 8">
            <a:extLst>
              <a:ext uri="{FF2B5EF4-FFF2-40B4-BE49-F238E27FC236}">
                <a16:creationId xmlns:a16="http://schemas.microsoft.com/office/drawing/2014/main" id="{52474C07-8F5D-CC3D-9724-9A29EA763F79}"/>
              </a:ext>
            </a:extLst>
          </p:cNvPr>
          <p:cNvSpPr>
            <a:spLocks noGrp="1"/>
          </p:cNvSpPr>
          <p:nvPr>
            <p:ph type="dt" sz="half" idx="16"/>
          </p:nvPr>
        </p:nvSpPr>
        <p:spPr/>
        <p:txBody>
          <a:bodyPr/>
          <a:lstStyle/>
          <a:p>
            <a:fld id="{C7CE0BA8-CBFE-4EDD-9053-90766C8BBA05}" type="datetime1">
              <a:rPr lang="en-US" smtClean="0"/>
              <a:t>3/27/2025</a:t>
            </a:fld>
            <a:endParaRPr lang="en-US"/>
          </a:p>
        </p:txBody>
      </p:sp>
      <p:sp>
        <p:nvSpPr>
          <p:cNvPr id="10" name="Footer Placeholder 9">
            <a:extLst>
              <a:ext uri="{FF2B5EF4-FFF2-40B4-BE49-F238E27FC236}">
                <a16:creationId xmlns:a16="http://schemas.microsoft.com/office/drawing/2014/main" id="{D471F904-8B56-7EFA-3473-9DFAE1BFA581}"/>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2" name="Slide Number Placeholder 11">
            <a:extLst>
              <a:ext uri="{FF2B5EF4-FFF2-40B4-BE49-F238E27FC236}">
                <a16:creationId xmlns:a16="http://schemas.microsoft.com/office/drawing/2014/main" id="{FC8C7DF5-F873-F2E9-CB9E-9C8CF17D2CC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92708680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93E2B6F-B0F8-598A-12EC-0815E7654FD0}"/>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a:t>
            </a:r>
            <a:br>
              <a:rPr lang="en-US"/>
            </a:br>
            <a:br>
              <a:rPr lang="en-US"/>
            </a:br>
            <a:r>
              <a:rPr lang="en-US"/>
              <a:t>Navigate to the curated cover image options that downloaded with the template suite and chose the desired option. </a:t>
            </a:r>
            <a:br>
              <a:rPr lang="en-US"/>
            </a:br>
            <a:br>
              <a:rPr lang="en-US"/>
            </a:br>
            <a:br>
              <a:rPr lang="en-US"/>
            </a:br>
            <a:br>
              <a:rPr lang="en-US"/>
            </a:br>
            <a:br>
              <a:rPr lang="en-US"/>
            </a:br>
            <a:br>
              <a:rPr lang="en-US"/>
            </a:br>
            <a:br>
              <a:rPr lang="en-US"/>
            </a:br>
            <a:br>
              <a:rPr lang="en-US"/>
            </a:br>
            <a:br>
              <a:rPr lang="en-US"/>
            </a:br>
            <a:r>
              <a:rPr lang="en-US"/>
              <a:t>To access broader brand approved photography, visit: brand.optum.com/content/photography-library.</a:t>
            </a:r>
            <a:br>
              <a:rPr lang="en-US"/>
            </a:br>
            <a:br>
              <a:rPr lang="en-US"/>
            </a:br>
            <a:r>
              <a:rPr lang="en-US"/>
              <a:t>To access broader brand approved illustrations, visit: brand.optum.com/content/illustration-library. Once an illustration is downloaded, insert the SVG from within the PowerPoint folder.</a:t>
            </a:r>
          </a:p>
        </p:txBody>
      </p:sp>
      <p:sp>
        <p:nvSpPr>
          <p:cNvPr id="3" name="Date Placeholder 2">
            <a:extLst>
              <a:ext uri="{FF2B5EF4-FFF2-40B4-BE49-F238E27FC236}">
                <a16:creationId xmlns:a16="http://schemas.microsoft.com/office/drawing/2014/main" id="{9696FBF0-1B42-325E-9531-A33DF9031814}"/>
              </a:ext>
            </a:extLst>
          </p:cNvPr>
          <p:cNvSpPr>
            <a:spLocks noGrp="1"/>
          </p:cNvSpPr>
          <p:nvPr>
            <p:ph type="dt" sz="half" idx="16"/>
          </p:nvPr>
        </p:nvSpPr>
        <p:spPr/>
        <p:txBody>
          <a:bodyPr/>
          <a:lstStyle/>
          <a:p>
            <a:fld id="{31D07194-3FCF-4B6D-B722-EDAE00F746E4}" type="datetime1">
              <a:rPr lang="en-US" smtClean="0"/>
              <a:t>3/27/2025</a:t>
            </a:fld>
            <a:endParaRPr lang="en-US"/>
          </a:p>
        </p:txBody>
      </p:sp>
      <p:sp>
        <p:nvSpPr>
          <p:cNvPr id="4" name="Footer Placeholder 3">
            <a:extLst>
              <a:ext uri="{FF2B5EF4-FFF2-40B4-BE49-F238E27FC236}">
                <a16:creationId xmlns:a16="http://schemas.microsoft.com/office/drawing/2014/main" id="{E529C78D-F523-2F5F-AF8F-9D18AFD1F748}"/>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2483F371-F5E3-E66E-2FC2-36252A822E65}"/>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83475978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082749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7/2025</a:t>
            </a:fld>
            <a:endParaRPr lang="en-US"/>
          </a:p>
        </p:txBody>
      </p:sp>
    </p:spTree>
    <p:extLst>
      <p:ext uri="{BB962C8B-B14F-4D97-AF65-F5344CB8AC3E}">
        <p14:creationId xmlns:p14="http://schemas.microsoft.com/office/powerpoint/2010/main" val="137535933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A231FC8-4CC9-4D4D-9D42-4100B12BBFD2}" type="datetime1">
              <a:rPr lang="en-US" smtClean="0"/>
              <a:t>3/27/2025</a:t>
            </a:fld>
            <a:endParaRPr lang="en-US"/>
          </a:p>
        </p:txBody>
      </p:sp>
    </p:spTree>
    <p:extLst>
      <p:ext uri="{BB962C8B-B14F-4D97-AF65-F5344CB8AC3E}">
        <p14:creationId xmlns:p14="http://schemas.microsoft.com/office/powerpoint/2010/main" val="169400926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945132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99AD85F-304C-4BF5-94FB-50C7E84ED8FF}" type="datetime1">
              <a:rPr lang="en-US" smtClean="0"/>
              <a:t>3/27/2025</a:t>
            </a:fld>
            <a:endParaRPr lang="en-US"/>
          </a:p>
        </p:txBody>
      </p:sp>
    </p:spTree>
    <p:extLst>
      <p:ext uri="{BB962C8B-B14F-4D97-AF65-F5344CB8AC3E}">
        <p14:creationId xmlns:p14="http://schemas.microsoft.com/office/powerpoint/2010/main" val="138564621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3" name="Picture Placeholder 12">
            <a:extLst>
              <a:ext uri="{FF2B5EF4-FFF2-40B4-BE49-F238E27FC236}">
                <a16:creationId xmlns:a16="http://schemas.microsoft.com/office/drawing/2014/main" id="{D42CBABA-1415-19BE-D237-380FC8DEF6DE}"/>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DCF03D0B-5402-EF45-D126-86ACF7A1BEBD}"/>
              </a:ext>
            </a:extLst>
          </p:cNvPr>
          <p:cNvSpPr>
            <a:spLocks noGrp="1"/>
          </p:cNvSpPr>
          <p:nvPr>
            <p:ph type="dt" sz="half" idx="16"/>
          </p:nvPr>
        </p:nvSpPr>
        <p:spPr/>
        <p:txBody>
          <a:bodyPr/>
          <a:lstStyle/>
          <a:p>
            <a:fld id="{555A700A-DE3D-4C25-9F30-4012DF69D24E}" type="datetime1">
              <a:rPr lang="en-US" smtClean="0"/>
              <a:t>3/27/2025</a:t>
            </a:fld>
            <a:endParaRPr lang="en-US"/>
          </a:p>
        </p:txBody>
      </p:sp>
      <p:sp>
        <p:nvSpPr>
          <p:cNvPr id="4" name="Footer Placeholder 3">
            <a:extLst>
              <a:ext uri="{FF2B5EF4-FFF2-40B4-BE49-F238E27FC236}">
                <a16:creationId xmlns:a16="http://schemas.microsoft.com/office/drawing/2014/main" id="{1FF9B01D-9565-F36F-8010-39CED224AA25}"/>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FE5BA348-E888-6410-6785-0BF3F28CBCE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011680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C49669F-A6B0-45C8-9E96-E3ECF646095E}" type="datetime1">
              <a:rPr lang="en-US" smtClean="0"/>
              <a:t>3/27/2025</a:t>
            </a:fld>
            <a:endParaRPr lang="en-US"/>
          </a:p>
        </p:txBody>
      </p:sp>
    </p:spTree>
    <p:extLst>
      <p:ext uri="{BB962C8B-B14F-4D97-AF65-F5344CB8AC3E}">
        <p14:creationId xmlns:p14="http://schemas.microsoft.com/office/powerpoint/2010/main" val="131986877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7/2025</a:t>
            </a:fld>
            <a:endParaRPr lang="en-US"/>
          </a:p>
        </p:txBody>
      </p:sp>
    </p:spTree>
    <p:extLst>
      <p:ext uri="{BB962C8B-B14F-4D97-AF65-F5344CB8AC3E}">
        <p14:creationId xmlns:p14="http://schemas.microsoft.com/office/powerpoint/2010/main" val="150229642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8F7E04CA-C30D-40A2-B51C-2DAC9C9B2D09}" type="datetime1">
              <a:rPr lang="en-US" smtClean="0"/>
              <a:t>3/27/2025</a:t>
            </a:fld>
            <a:endParaRPr lang="en-US"/>
          </a:p>
        </p:txBody>
      </p:sp>
    </p:spTree>
    <p:extLst>
      <p:ext uri="{BB962C8B-B14F-4D97-AF65-F5344CB8AC3E}">
        <p14:creationId xmlns:p14="http://schemas.microsoft.com/office/powerpoint/2010/main" val="160807489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8F242276-4B37-464E-82B5-A2CCFA8D2047}" type="datetime1">
              <a:rPr lang="en-US" smtClean="0"/>
              <a:t>3/27/2025</a:t>
            </a:fld>
            <a:endParaRPr lang="en-US"/>
          </a:p>
        </p:txBody>
      </p:sp>
    </p:spTree>
    <p:extLst>
      <p:ext uri="{BB962C8B-B14F-4D97-AF65-F5344CB8AC3E}">
        <p14:creationId xmlns:p14="http://schemas.microsoft.com/office/powerpoint/2010/main" val="903976723"/>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32934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2"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SpPr/>
          <p:nvPr/>
        </p:nvSpPr>
        <p:spPr>
          <a:xfrm>
            <a:off x="5873555" y="1193661"/>
            <a:ext cx="454634" cy="348947"/>
          </a:xfrm>
          <a:custGeom>
            <a:avLst/>
            <a:gdLst>
              <a:gd name="connsiteX0" fmla="*/ 160281 w 454634"/>
              <a:gd name="connsiteY0" fmla="*/ 0 h 348947"/>
              <a:gd name="connsiteX1" fmla="*/ 205697 w 454634"/>
              <a:gd name="connsiteY1" fmla="*/ 64813 h 348947"/>
              <a:gd name="connsiteX2" fmla="*/ 102281 w 454634"/>
              <a:gd name="connsiteY2" fmla="*/ 169364 h 348947"/>
              <a:gd name="connsiteX3" fmla="*/ 187531 w 454634"/>
              <a:gd name="connsiteY3" fmla="*/ 258021 h 348947"/>
              <a:gd name="connsiteX4" fmla="*/ 96604 w 454634"/>
              <a:gd name="connsiteY4" fmla="*/ 348947 h 348947"/>
              <a:gd name="connsiteX5" fmla="*/ 0 w 454634"/>
              <a:gd name="connsiteY5" fmla="*/ 237583 h 348947"/>
              <a:gd name="connsiteX6" fmla="*/ 160281 w 454634"/>
              <a:gd name="connsiteY6" fmla="*/ 0 h 348947"/>
              <a:gd name="connsiteX7" fmla="*/ 409219 w 454634"/>
              <a:gd name="connsiteY7" fmla="*/ 0 h 348947"/>
              <a:gd name="connsiteX8" fmla="*/ 454635 w 454634"/>
              <a:gd name="connsiteY8" fmla="*/ 64813 h 348947"/>
              <a:gd name="connsiteX9" fmla="*/ 351218 w 454634"/>
              <a:gd name="connsiteY9" fmla="*/ 169364 h 348947"/>
              <a:gd name="connsiteX10" fmla="*/ 436468 w 454634"/>
              <a:gd name="connsiteY10" fmla="*/ 258021 h 348947"/>
              <a:gd name="connsiteX11" fmla="*/ 345541 w 454634"/>
              <a:gd name="connsiteY11" fmla="*/ 348947 h 348947"/>
              <a:gd name="connsiteX12" fmla="*/ 248937 w 454634"/>
              <a:gd name="connsiteY12" fmla="*/ 237583 h 348947"/>
              <a:gd name="connsiteX13" fmla="*/ 409219 w 454634"/>
              <a:gd name="connsiteY13" fmla="*/ 0 h 34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34" h="348947">
                <a:moveTo>
                  <a:pt x="160281" y="0"/>
                </a:moveTo>
                <a:lnTo>
                  <a:pt x="205697" y="64813"/>
                </a:lnTo>
                <a:cubicBezTo>
                  <a:pt x="153374" y="96604"/>
                  <a:pt x="115906" y="130761"/>
                  <a:pt x="102281" y="169364"/>
                </a:cubicBezTo>
                <a:cubicBezTo>
                  <a:pt x="151103" y="172771"/>
                  <a:pt x="187531" y="209198"/>
                  <a:pt x="187531" y="258021"/>
                </a:cubicBezTo>
                <a:cubicBezTo>
                  <a:pt x="187531" y="307978"/>
                  <a:pt x="148927" y="348947"/>
                  <a:pt x="96604" y="348947"/>
                </a:cubicBezTo>
                <a:cubicBezTo>
                  <a:pt x="42010" y="348947"/>
                  <a:pt x="0" y="304667"/>
                  <a:pt x="0" y="237583"/>
                </a:cubicBezTo>
                <a:cubicBezTo>
                  <a:pt x="0" y="134072"/>
                  <a:pt x="58000" y="50052"/>
                  <a:pt x="160281" y="0"/>
                </a:cubicBezTo>
                <a:close/>
                <a:moveTo>
                  <a:pt x="409219" y="0"/>
                </a:moveTo>
                <a:lnTo>
                  <a:pt x="454635" y="64813"/>
                </a:lnTo>
                <a:cubicBezTo>
                  <a:pt x="402406" y="96604"/>
                  <a:pt x="364843" y="130761"/>
                  <a:pt x="351218" y="169364"/>
                </a:cubicBezTo>
                <a:cubicBezTo>
                  <a:pt x="400041" y="172771"/>
                  <a:pt x="436468" y="209198"/>
                  <a:pt x="436468" y="258021"/>
                </a:cubicBezTo>
                <a:cubicBezTo>
                  <a:pt x="436468" y="307978"/>
                  <a:pt x="397865" y="348947"/>
                  <a:pt x="345541" y="348947"/>
                </a:cubicBezTo>
                <a:cubicBezTo>
                  <a:pt x="290947" y="348947"/>
                  <a:pt x="248937" y="304667"/>
                  <a:pt x="248937" y="237583"/>
                </a:cubicBezTo>
                <a:cubicBezTo>
                  <a:pt x="248937" y="134072"/>
                  <a:pt x="306938" y="50052"/>
                  <a:pt x="409219" y="0"/>
                </a:cubicBezTo>
                <a:close/>
              </a:path>
            </a:pathLst>
          </a:custGeom>
          <a:solidFill>
            <a:srgbClr val="FF612B"/>
          </a:solidFill>
          <a:ln w="9335" cap="flat">
            <a:noFill/>
            <a:prstDash val="solid"/>
            <a:miter/>
          </a:ln>
        </p:spPr>
        <p:txBody>
          <a:bodyPr rtlCol="0" anchor="ctr"/>
          <a:lstStyle/>
          <a:p>
            <a:endParaRPr lang="en-US"/>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AC1A5A6-F2E7-4A6D-960D-C8D830EDC445}" type="datetime1">
              <a:rPr lang="en-US" smtClean="0"/>
              <a:t>3/27/2025</a:t>
            </a:fld>
            <a:endParaRPr lang="en-US"/>
          </a:p>
        </p:txBody>
      </p:sp>
    </p:spTree>
    <p:extLst>
      <p:ext uri="{BB962C8B-B14F-4D97-AF65-F5344CB8AC3E}">
        <p14:creationId xmlns:p14="http://schemas.microsoft.com/office/powerpoint/2010/main" val="2784241741"/>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SpPr/>
          <p:nvPr/>
        </p:nvSpPr>
        <p:spPr>
          <a:xfrm>
            <a:off x="5873555" y="767971"/>
            <a:ext cx="454634" cy="348947"/>
          </a:xfrm>
          <a:custGeom>
            <a:avLst/>
            <a:gdLst>
              <a:gd name="connsiteX0" fmla="*/ 160281 w 454634"/>
              <a:gd name="connsiteY0" fmla="*/ 0 h 348947"/>
              <a:gd name="connsiteX1" fmla="*/ 205697 w 454634"/>
              <a:gd name="connsiteY1" fmla="*/ 64813 h 348947"/>
              <a:gd name="connsiteX2" fmla="*/ 102281 w 454634"/>
              <a:gd name="connsiteY2" fmla="*/ 169364 h 348947"/>
              <a:gd name="connsiteX3" fmla="*/ 187531 w 454634"/>
              <a:gd name="connsiteY3" fmla="*/ 258021 h 348947"/>
              <a:gd name="connsiteX4" fmla="*/ 96604 w 454634"/>
              <a:gd name="connsiteY4" fmla="*/ 348947 h 348947"/>
              <a:gd name="connsiteX5" fmla="*/ 0 w 454634"/>
              <a:gd name="connsiteY5" fmla="*/ 237583 h 348947"/>
              <a:gd name="connsiteX6" fmla="*/ 160281 w 454634"/>
              <a:gd name="connsiteY6" fmla="*/ 0 h 348947"/>
              <a:gd name="connsiteX7" fmla="*/ 409219 w 454634"/>
              <a:gd name="connsiteY7" fmla="*/ 0 h 348947"/>
              <a:gd name="connsiteX8" fmla="*/ 454635 w 454634"/>
              <a:gd name="connsiteY8" fmla="*/ 64813 h 348947"/>
              <a:gd name="connsiteX9" fmla="*/ 351218 w 454634"/>
              <a:gd name="connsiteY9" fmla="*/ 169364 h 348947"/>
              <a:gd name="connsiteX10" fmla="*/ 436468 w 454634"/>
              <a:gd name="connsiteY10" fmla="*/ 258021 h 348947"/>
              <a:gd name="connsiteX11" fmla="*/ 345541 w 454634"/>
              <a:gd name="connsiteY11" fmla="*/ 348947 h 348947"/>
              <a:gd name="connsiteX12" fmla="*/ 248937 w 454634"/>
              <a:gd name="connsiteY12" fmla="*/ 237583 h 348947"/>
              <a:gd name="connsiteX13" fmla="*/ 409219 w 454634"/>
              <a:gd name="connsiteY13" fmla="*/ 0 h 34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34" h="348947">
                <a:moveTo>
                  <a:pt x="160281" y="0"/>
                </a:moveTo>
                <a:lnTo>
                  <a:pt x="205697" y="64813"/>
                </a:lnTo>
                <a:cubicBezTo>
                  <a:pt x="153374" y="96604"/>
                  <a:pt x="115906" y="130761"/>
                  <a:pt x="102281" y="169364"/>
                </a:cubicBezTo>
                <a:cubicBezTo>
                  <a:pt x="151103" y="172771"/>
                  <a:pt x="187531" y="209198"/>
                  <a:pt x="187531" y="258021"/>
                </a:cubicBezTo>
                <a:cubicBezTo>
                  <a:pt x="187531" y="307978"/>
                  <a:pt x="148927" y="348947"/>
                  <a:pt x="96604" y="348947"/>
                </a:cubicBezTo>
                <a:cubicBezTo>
                  <a:pt x="42010" y="348947"/>
                  <a:pt x="0" y="304667"/>
                  <a:pt x="0" y="237583"/>
                </a:cubicBezTo>
                <a:cubicBezTo>
                  <a:pt x="0" y="134072"/>
                  <a:pt x="58000" y="50052"/>
                  <a:pt x="160281" y="0"/>
                </a:cubicBezTo>
                <a:close/>
                <a:moveTo>
                  <a:pt x="409219" y="0"/>
                </a:moveTo>
                <a:lnTo>
                  <a:pt x="454635" y="64813"/>
                </a:lnTo>
                <a:cubicBezTo>
                  <a:pt x="402406" y="96604"/>
                  <a:pt x="364843" y="130761"/>
                  <a:pt x="351218" y="169364"/>
                </a:cubicBezTo>
                <a:cubicBezTo>
                  <a:pt x="400041" y="172771"/>
                  <a:pt x="436468" y="209198"/>
                  <a:pt x="436468" y="258021"/>
                </a:cubicBezTo>
                <a:cubicBezTo>
                  <a:pt x="436468" y="307978"/>
                  <a:pt x="397865" y="348947"/>
                  <a:pt x="345541" y="348947"/>
                </a:cubicBezTo>
                <a:cubicBezTo>
                  <a:pt x="290947" y="348947"/>
                  <a:pt x="248937" y="304667"/>
                  <a:pt x="248937" y="237583"/>
                </a:cubicBezTo>
                <a:cubicBezTo>
                  <a:pt x="248937" y="134072"/>
                  <a:pt x="306938" y="50052"/>
                  <a:pt x="409219" y="0"/>
                </a:cubicBezTo>
                <a:close/>
              </a:path>
            </a:pathLst>
          </a:custGeom>
          <a:solidFill>
            <a:srgbClr val="FF612B"/>
          </a:solidFill>
          <a:ln w="9335" cap="flat">
            <a:noFill/>
            <a:prstDash val="solid"/>
            <a:miter/>
          </a:ln>
        </p:spPr>
        <p:txBody>
          <a:bodyPr rtlCol="0" anchor="ctr"/>
          <a:lstStyle/>
          <a:p>
            <a:endParaRPr lang="en-US"/>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EDB376A-9CC0-4260-A1FB-E4D7D3B0E9C8}" type="datetime1">
              <a:rPr lang="en-US" smtClean="0"/>
              <a:t>3/27/2025</a:t>
            </a:fld>
            <a:endParaRPr lang="en-US"/>
          </a:p>
        </p:txBody>
      </p:sp>
    </p:spTree>
    <p:extLst>
      <p:ext uri="{BB962C8B-B14F-4D97-AF65-F5344CB8AC3E}">
        <p14:creationId xmlns:p14="http://schemas.microsoft.com/office/powerpoint/2010/main" val="1401666297"/>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2"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SpPr/>
          <p:nvPr/>
        </p:nvSpPr>
        <p:spPr>
          <a:xfrm>
            <a:off x="5873555" y="1193661"/>
            <a:ext cx="454634" cy="348947"/>
          </a:xfrm>
          <a:custGeom>
            <a:avLst/>
            <a:gdLst>
              <a:gd name="connsiteX0" fmla="*/ 160281 w 454634"/>
              <a:gd name="connsiteY0" fmla="*/ 0 h 348947"/>
              <a:gd name="connsiteX1" fmla="*/ 205697 w 454634"/>
              <a:gd name="connsiteY1" fmla="*/ 64813 h 348947"/>
              <a:gd name="connsiteX2" fmla="*/ 102281 w 454634"/>
              <a:gd name="connsiteY2" fmla="*/ 169364 h 348947"/>
              <a:gd name="connsiteX3" fmla="*/ 187531 w 454634"/>
              <a:gd name="connsiteY3" fmla="*/ 258021 h 348947"/>
              <a:gd name="connsiteX4" fmla="*/ 96604 w 454634"/>
              <a:gd name="connsiteY4" fmla="*/ 348947 h 348947"/>
              <a:gd name="connsiteX5" fmla="*/ 0 w 454634"/>
              <a:gd name="connsiteY5" fmla="*/ 237583 h 348947"/>
              <a:gd name="connsiteX6" fmla="*/ 160281 w 454634"/>
              <a:gd name="connsiteY6" fmla="*/ 0 h 348947"/>
              <a:gd name="connsiteX7" fmla="*/ 409219 w 454634"/>
              <a:gd name="connsiteY7" fmla="*/ 0 h 348947"/>
              <a:gd name="connsiteX8" fmla="*/ 454635 w 454634"/>
              <a:gd name="connsiteY8" fmla="*/ 64813 h 348947"/>
              <a:gd name="connsiteX9" fmla="*/ 351218 w 454634"/>
              <a:gd name="connsiteY9" fmla="*/ 169364 h 348947"/>
              <a:gd name="connsiteX10" fmla="*/ 436468 w 454634"/>
              <a:gd name="connsiteY10" fmla="*/ 258021 h 348947"/>
              <a:gd name="connsiteX11" fmla="*/ 345541 w 454634"/>
              <a:gd name="connsiteY11" fmla="*/ 348947 h 348947"/>
              <a:gd name="connsiteX12" fmla="*/ 248937 w 454634"/>
              <a:gd name="connsiteY12" fmla="*/ 237583 h 348947"/>
              <a:gd name="connsiteX13" fmla="*/ 409219 w 454634"/>
              <a:gd name="connsiteY13" fmla="*/ 0 h 34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34" h="348947">
                <a:moveTo>
                  <a:pt x="160281" y="0"/>
                </a:moveTo>
                <a:lnTo>
                  <a:pt x="205697" y="64813"/>
                </a:lnTo>
                <a:cubicBezTo>
                  <a:pt x="153374" y="96604"/>
                  <a:pt x="115906" y="130761"/>
                  <a:pt x="102281" y="169364"/>
                </a:cubicBezTo>
                <a:cubicBezTo>
                  <a:pt x="151103" y="172771"/>
                  <a:pt x="187531" y="209198"/>
                  <a:pt x="187531" y="258021"/>
                </a:cubicBezTo>
                <a:cubicBezTo>
                  <a:pt x="187531" y="307978"/>
                  <a:pt x="148927" y="348947"/>
                  <a:pt x="96604" y="348947"/>
                </a:cubicBezTo>
                <a:cubicBezTo>
                  <a:pt x="42010" y="348947"/>
                  <a:pt x="0" y="304667"/>
                  <a:pt x="0" y="237583"/>
                </a:cubicBezTo>
                <a:cubicBezTo>
                  <a:pt x="0" y="134072"/>
                  <a:pt x="58000" y="50052"/>
                  <a:pt x="160281" y="0"/>
                </a:cubicBezTo>
                <a:close/>
                <a:moveTo>
                  <a:pt x="409219" y="0"/>
                </a:moveTo>
                <a:lnTo>
                  <a:pt x="454635" y="64813"/>
                </a:lnTo>
                <a:cubicBezTo>
                  <a:pt x="402406" y="96604"/>
                  <a:pt x="364843" y="130761"/>
                  <a:pt x="351218" y="169364"/>
                </a:cubicBezTo>
                <a:cubicBezTo>
                  <a:pt x="400041" y="172771"/>
                  <a:pt x="436468" y="209198"/>
                  <a:pt x="436468" y="258021"/>
                </a:cubicBezTo>
                <a:cubicBezTo>
                  <a:pt x="436468" y="307978"/>
                  <a:pt x="397865" y="348947"/>
                  <a:pt x="345541" y="348947"/>
                </a:cubicBezTo>
                <a:cubicBezTo>
                  <a:pt x="290947" y="348947"/>
                  <a:pt x="248937" y="304667"/>
                  <a:pt x="248937" y="237583"/>
                </a:cubicBezTo>
                <a:cubicBezTo>
                  <a:pt x="248937" y="134072"/>
                  <a:pt x="306938" y="50052"/>
                  <a:pt x="409219" y="0"/>
                </a:cubicBezTo>
                <a:close/>
              </a:path>
            </a:pathLst>
          </a:custGeom>
          <a:solidFill>
            <a:srgbClr val="FF612B"/>
          </a:solidFill>
          <a:ln w="9335" cap="flat">
            <a:noFill/>
            <a:prstDash val="solid"/>
            <a:miter/>
          </a:ln>
        </p:spPr>
        <p:txBody>
          <a:bodyPr rtlCol="0" anchor="ctr"/>
          <a:lstStyle/>
          <a:p>
            <a:endParaRPr lang="en-US"/>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8DFD118-AC3B-49F2-BA0B-7B9DF70B8F3E}" type="datetime1">
              <a:rPr lang="en-US" smtClean="0"/>
              <a:t>3/27/2025</a:t>
            </a:fld>
            <a:endParaRPr lang="en-US"/>
          </a:p>
        </p:txBody>
      </p:sp>
    </p:spTree>
    <p:extLst>
      <p:ext uri="{BB962C8B-B14F-4D97-AF65-F5344CB8AC3E}">
        <p14:creationId xmlns:p14="http://schemas.microsoft.com/office/powerpoint/2010/main" val="3553135318"/>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SpPr/>
          <p:nvPr/>
        </p:nvSpPr>
        <p:spPr>
          <a:xfrm>
            <a:off x="5873555" y="767971"/>
            <a:ext cx="454634" cy="348947"/>
          </a:xfrm>
          <a:custGeom>
            <a:avLst/>
            <a:gdLst>
              <a:gd name="connsiteX0" fmla="*/ 160281 w 454634"/>
              <a:gd name="connsiteY0" fmla="*/ 0 h 348947"/>
              <a:gd name="connsiteX1" fmla="*/ 205697 w 454634"/>
              <a:gd name="connsiteY1" fmla="*/ 64813 h 348947"/>
              <a:gd name="connsiteX2" fmla="*/ 102281 w 454634"/>
              <a:gd name="connsiteY2" fmla="*/ 169364 h 348947"/>
              <a:gd name="connsiteX3" fmla="*/ 187531 w 454634"/>
              <a:gd name="connsiteY3" fmla="*/ 258021 h 348947"/>
              <a:gd name="connsiteX4" fmla="*/ 96604 w 454634"/>
              <a:gd name="connsiteY4" fmla="*/ 348947 h 348947"/>
              <a:gd name="connsiteX5" fmla="*/ 0 w 454634"/>
              <a:gd name="connsiteY5" fmla="*/ 237583 h 348947"/>
              <a:gd name="connsiteX6" fmla="*/ 160281 w 454634"/>
              <a:gd name="connsiteY6" fmla="*/ 0 h 348947"/>
              <a:gd name="connsiteX7" fmla="*/ 409219 w 454634"/>
              <a:gd name="connsiteY7" fmla="*/ 0 h 348947"/>
              <a:gd name="connsiteX8" fmla="*/ 454635 w 454634"/>
              <a:gd name="connsiteY8" fmla="*/ 64813 h 348947"/>
              <a:gd name="connsiteX9" fmla="*/ 351218 w 454634"/>
              <a:gd name="connsiteY9" fmla="*/ 169364 h 348947"/>
              <a:gd name="connsiteX10" fmla="*/ 436468 w 454634"/>
              <a:gd name="connsiteY10" fmla="*/ 258021 h 348947"/>
              <a:gd name="connsiteX11" fmla="*/ 345541 w 454634"/>
              <a:gd name="connsiteY11" fmla="*/ 348947 h 348947"/>
              <a:gd name="connsiteX12" fmla="*/ 248937 w 454634"/>
              <a:gd name="connsiteY12" fmla="*/ 237583 h 348947"/>
              <a:gd name="connsiteX13" fmla="*/ 409219 w 454634"/>
              <a:gd name="connsiteY13" fmla="*/ 0 h 34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34" h="348947">
                <a:moveTo>
                  <a:pt x="160281" y="0"/>
                </a:moveTo>
                <a:lnTo>
                  <a:pt x="205697" y="64813"/>
                </a:lnTo>
                <a:cubicBezTo>
                  <a:pt x="153374" y="96604"/>
                  <a:pt x="115906" y="130761"/>
                  <a:pt x="102281" y="169364"/>
                </a:cubicBezTo>
                <a:cubicBezTo>
                  <a:pt x="151103" y="172771"/>
                  <a:pt x="187531" y="209198"/>
                  <a:pt x="187531" y="258021"/>
                </a:cubicBezTo>
                <a:cubicBezTo>
                  <a:pt x="187531" y="307978"/>
                  <a:pt x="148927" y="348947"/>
                  <a:pt x="96604" y="348947"/>
                </a:cubicBezTo>
                <a:cubicBezTo>
                  <a:pt x="42010" y="348947"/>
                  <a:pt x="0" y="304667"/>
                  <a:pt x="0" y="237583"/>
                </a:cubicBezTo>
                <a:cubicBezTo>
                  <a:pt x="0" y="134072"/>
                  <a:pt x="58000" y="50052"/>
                  <a:pt x="160281" y="0"/>
                </a:cubicBezTo>
                <a:close/>
                <a:moveTo>
                  <a:pt x="409219" y="0"/>
                </a:moveTo>
                <a:lnTo>
                  <a:pt x="454635" y="64813"/>
                </a:lnTo>
                <a:cubicBezTo>
                  <a:pt x="402406" y="96604"/>
                  <a:pt x="364843" y="130761"/>
                  <a:pt x="351218" y="169364"/>
                </a:cubicBezTo>
                <a:cubicBezTo>
                  <a:pt x="400041" y="172771"/>
                  <a:pt x="436468" y="209198"/>
                  <a:pt x="436468" y="258021"/>
                </a:cubicBezTo>
                <a:cubicBezTo>
                  <a:pt x="436468" y="307978"/>
                  <a:pt x="397865" y="348947"/>
                  <a:pt x="345541" y="348947"/>
                </a:cubicBezTo>
                <a:cubicBezTo>
                  <a:pt x="290947" y="348947"/>
                  <a:pt x="248937" y="304667"/>
                  <a:pt x="248937" y="237583"/>
                </a:cubicBezTo>
                <a:cubicBezTo>
                  <a:pt x="248937" y="134072"/>
                  <a:pt x="306938" y="50052"/>
                  <a:pt x="409219" y="0"/>
                </a:cubicBezTo>
                <a:close/>
              </a:path>
            </a:pathLst>
          </a:custGeom>
          <a:solidFill>
            <a:srgbClr val="FF612B"/>
          </a:solidFill>
          <a:ln w="9335" cap="flat">
            <a:noFill/>
            <a:prstDash val="solid"/>
            <a:miter/>
          </a:ln>
        </p:spPr>
        <p:txBody>
          <a:bodyPr rtlCol="0" anchor="ctr"/>
          <a:lstStyle/>
          <a:p>
            <a:endParaRPr lang="en-US"/>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9F7F53CA-DA9B-42DE-BC32-1FB13BF92AF8}" type="datetime1">
              <a:rPr lang="en-US" smtClean="0"/>
              <a:t>3/27/2025</a:t>
            </a:fld>
            <a:endParaRPr lang="en-US"/>
          </a:p>
        </p:txBody>
      </p:sp>
    </p:spTree>
    <p:extLst>
      <p:ext uri="{BB962C8B-B14F-4D97-AF65-F5344CB8AC3E}">
        <p14:creationId xmlns:p14="http://schemas.microsoft.com/office/powerpoint/2010/main" val="720683621"/>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087FC9B-1C7F-4ADF-9DC1-8BD3DCF6C9B1}" type="datetime1">
              <a:rPr lang="en-US" smtClean="0"/>
              <a:t>3/27/2025</a:t>
            </a:fld>
            <a:endParaRPr lang="en-US"/>
          </a:p>
        </p:txBody>
      </p:sp>
    </p:spTree>
    <p:extLst>
      <p:ext uri="{BB962C8B-B14F-4D97-AF65-F5344CB8AC3E}">
        <p14:creationId xmlns:p14="http://schemas.microsoft.com/office/powerpoint/2010/main" val="26404537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07">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9" name="Date Placeholder 8">
            <a:extLst>
              <a:ext uri="{FF2B5EF4-FFF2-40B4-BE49-F238E27FC236}">
                <a16:creationId xmlns:a16="http://schemas.microsoft.com/office/drawing/2014/main" id="{52474C07-8F5D-CC3D-9724-9A29EA763F79}"/>
              </a:ext>
            </a:extLst>
          </p:cNvPr>
          <p:cNvSpPr>
            <a:spLocks noGrp="1"/>
          </p:cNvSpPr>
          <p:nvPr>
            <p:ph type="dt" sz="half" idx="16"/>
          </p:nvPr>
        </p:nvSpPr>
        <p:spPr/>
        <p:txBody>
          <a:bodyPr/>
          <a:lstStyle/>
          <a:p>
            <a:fld id="{C7CE0BA8-CBFE-4EDD-9053-90766C8BBA05}" type="datetime1">
              <a:rPr lang="en-US" smtClean="0"/>
              <a:t>3/27/2025</a:t>
            </a:fld>
            <a:endParaRPr lang="en-US"/>
          </a:p>
        </p:txBody>
      </p:sp>
      <p:sp>
        <p:nvSpPr>
          <p:cNvPr id="10" name="Footer Placeholder 9">
            <a:extLst>
              <a:ext uri="{FF2B5EF4-FFF2-40B4-BE49-F238E27FC236}">
                <a16:creationId xmlns:a16="http://schemas.microsoft.com/office/drawing/2014/main" id="{D471F904-8B56-7EFA-3473-9DFAE1BFA581}"/>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2" name="Slide Number Placeholder 11">
            <a:extLst>
              <a:ext uri="{FF2B5EF4-FFF2-40B4-BE49-F238E27FC236}">
                <a16:creationId xmlns:a16="http://schemas.microsoft.com/office/drawing/2014/main" id="{FC8C7DF5-F873-F2E9-CB9E-9C8CF17D2CC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98396882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D66124C2-8024-4FE0-A9C8-31A6FDFB86B0}" type="datetime1">
              <a:rPr lang="en-US" smtClean="0"/>
              <a:t>3/27/2025</a:t>
            </a:fld>
            <a:endParaRPr lang="en-US"/>
          </a:p>
        </p:txBody>
      </p:sp>
    </p:spTree>
    <p:extLst>
      <p:ext uri="{BB962C8B-B14F-4D97-AF65-F5344CB8AC3E}">
        <p14:creationId xmlns:p14="http://schemas.microsoft.com/office/powerpoint/2010/main" val="352393858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387798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Themes </a:t>
            </a:r>
            <a:r>
              <a:rPr lang="en-US" sz="13000" b="0">
                <a:solidFill>
                  <a:schemeClr val="bg1"/>
                </a:solidFill>
              </a:rPr>
              <a:t>(Optional)</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326515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ver - Circles">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57201" y="2444106"/>
            <a:ext cx="548640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57201" y="4622786"/>
            <a:ext cx="54864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57200" y="6184202"/>
            <a:ext cx="54864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grpSp>
        <p:nvGrpSpPr>
          <p:cNvPr id="4" name="Group 3">
            <a:extLst>
              <a:ext uri="{FF2B5EF4-FFF2-40B4-BE49-F238E27FC236}">
                <a16:creationId xmlns:a16="http://schemas.microsoft.com/office/drawing/2014/main" id="{76161942-EDDE-7E45-31EB-C4DFF3FB884C}"/>
              </a:ext>
              <a:ext uri="{C183D7F6-B498-43B3-948B-1728B52AA6E4}">
                <adec:decorative xmlns:adec="http://schemas.microsoft.com/office/drawing/2017/decorative" val="1"/>
              </a:ext>
            </a:extLst>
          </p:cNvPr>
          <p:cNvGrpSpPr/>
          <p:nvPr userDrawn="1"/>
        </p:nvGrpSpPr>
        <p:grpSpPr bwMode="gray">
          <a:xfrm>
            <a:off x="6589986" y="0"/>
            <a:ext cx="5602015" cy="6858001"/>
            <a:chOff x="6589986" y="0"/>
            <a:chExt cx="5602015" cy="6858001"/>
          </a:xfrm>
        </p:grpSpPr>
        <p:sp>
          <p:nvSpPr>
            <p:cNvPr id="10" name="Oval 9">
              <a:extLst>
                <a:ext uri="{FF2B5EF4-FFF2-40B4-BE49-F238E27FC236}">
                  <a16:creationId xmlns:a16="http://schemas.microsoft.com/office/drawing/2014/main" id="{FD245413-8FD0-E03A-0CB5-B17DB7E65874}"/>
                </a:ext>
              </a:extLst>
            </p:cNvPr>
            <p:cNvSpPr/>
            <p:nvPr userDrawn="1"/>
          </p:nvSpPr>
          <p:spPr bwMode="gray">
            <a:xfrm>
              <a:off x="6589986" y="1236015"/>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3" name="Oval 12">
              <a:extLst>
                <a:ext uri="{FF2B5EF4-FFF2-40B4-BE49-F238E27FC236}">
                  <a16:creationId xmlns:a16="http://schemas.microsoft.com/office/drawing/2014/main" id="{94256F4F-5186-B0AC-B5EB-03CE1DE33165}"/>
                </a:ext>
              </a:extLst>
            </p:cNvPr>
            <p:cNvSpPr/>
            <p:nvPr userDrawn="1"/>
          </p:nvSpPr>
          <p:spPr bwMode="gray">
            <a:xfrm>
              <a:off x="6589986" y="2944997"/>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56" name="Freeform: Shape 55">
              <a:extLst>
                <a:ext uri="{FF2B5EF4-FFF2-40B4-BE49-F238E27FC236}">
                  <a16:creationId xmlns:a16="http://schemas.microsoft.com/office/drawing/2014/main" id="{2A768A4A-FB96-B57B-1F58-5CBDF8C61E53}"/>
                </a:ext>
              </a:extLst>
            </p:cNvPr>
            <p:cNvSpPr/>
            <p:nvPr userDrawn="1"/>
          </p:nvSpPr>
          <p:spPr bwMode="gray">
            <a:xfrm>
              <a:off x="6643485" y="6362961"/>
              <a:ext cx="1438025" cy="495039"/>
            </a:xfrm>
            <a:custGeom>
              <a:avLst/>
              <a:gdLst>
                <a:gd name="connsiteX0" fmla="*/ 719012 w 1438025"/>
                <a:gd name="connsiteY0" fmla="*/ 0 h 495039"/>
                <a:gd name="connsiteX1" fmla="*/ 1430816 w 1438025"/>
                <a:gd name="connsiteY1" fmla="*/ 471815 h 495039"/>
                <a:gd name="connsiteX2" fmla="*/ 1438025 w 1438025"/>
                <a:gd name="connsiteY2" fmla="*/ 495039 h 495039"/>
                <a:gd name="connsiteX3" fmla="*/ 0 w 1438025"/>
                <a:gd name="connsiteY3" fmla="*/ 495039 h 495039"/>
                <a:gd name="connsiteX4" fmla="*/ 7209 w 1438025"/>
                <a:gd name="connsiteY4" fmla="*/ 471815 h 495039"/>
                <a:gd name="connsiteX5" fmla="*/ 719012 w 1438025"/>
                <a:gd name="connsiteY5" fmla="*/ 0 h 49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8025" h="495039">
                  <a:moveTo>
                    <a:pt x="719012" y="0"/>
                  </a:moveTo>
                  <a:cubicBezTo>
                    <a:pt x="1038997" y="0"/>
                    <a:pt x="1313542" y="194549"/>
                    <a:pt x="1430816" y="471815"/>
                  </a:cubicBezTo>
                  <a:lnTo>
                    <a:pt x="1438025" y="495039"/>
                  </a:lnTo>
                  <a:lnTo>
                    <a:pt x="0" y="495039"/>
                  </a:lnTo>
                  <a:lnTo>
                    <a:pt x="7209" y="471815"/>
                  </a:lnTo>
                  <a:cubicBezTo>
                    <a:pt x="124483" y="194549"/>
                    <a:pt x="399028" y="0"/>
                    <a:pt x="719012" y="0"/>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50" name="Freeform: Shape 49">
              <a:extLst>
                <a:ext uri="{FF2B5EF4-FFF2-40B4-BE49-F238E27FC236}">
                  <a16:creationId xmlns:a16="http://schemas.microsoft.com/office/drawing/2014/main" id="{94B7C9C2-EDC6-573C-9A49-05BCDAFCB847}"/>
                </a:ext>
              </a:extLst>
            </p:cNvPr>
            <p:cNvSpPr/>
            <p:nvPr userDrawn="1"/>
          </p:nvSpPr>
          <p:spPr bwMode="gray">
            <a:xfrm>
              <a:off x="8304923" y="0"/>
              <a:ext cx="1545022" cy="1072055"/>
            </a:xfrm>
            <a:custGeom>
              <a:avLst/>
              <a:gdLst>
                <a:gd name="connsiteX0" fmla="*/ 60350 w 1545022"/>
                <a:gd name="connsiteY0" fmla="*/ 0 h 1072055"/>
                <a:gd name="connsiteX1" fmla="*/ 1484672 w 1545022"/>
                <a:gd name="connsiteY1" fmla="*/ 0 h 1072055"/>
                <a:gd name="connsiteX2" fmla="*/ 1529327 w 1545022"/>
                <a:gd name="connsiteY2" fmla="*/ 143856 h 1072055"/>
                <a:gd name="connsiteX3" fmla="*/ 1545022 w 1545022"/>
                <a:gd name="connsiteY3" fmla="*/ 299544 h 1072055"/>
                <a:gd name="connsiteX4" fmla="*/ 772511 w 1545022"/>
                <a:gd name="connsiteY4" fmla="*/ 1072055 h 1072055"/>
                <a:gd name="connsiteX5" fmla="*/ 0 w 1545022"/>
                <a:gd name="connsiteY5" fmla="*/ 299544 h 1072055"/>
                <a:gd name="connsiteX6" fmla="*/ 15695 w 1545022"/>
                <a:gd name="connsiteY6" fmla="*/ 143856 h 107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022" h="1072055">
                  <a:moveTo>
                    <a:pt x="60350" y="0"/>
                  </a:moveTo>
                  <a:lnTo>
                    <a:pt x="1484672" y="0"/>
                  </a:lnTo>
                  <a:lnTo>
                    <a:pt x="1529327" y="143856"/>
                  </a:lnTo>
                  <a:cubicBezTo>
                    <a:pt x="1539618" y="194145"/>
                    <a:pt x="1545022" y="246213"/>
                    <a:pt x="1545022" y="299544"/>
                  </a:cubicBezTo>
                  <a:cubicBezTo>
                    <a:pt x="1545022" y="726190"/>
                    <a:pt x="1199157" y="1072055"/>
                    <a:pt x="772511" y="1072055"/>
                  </a:cubicBezTo>
                  <a:cubicBezTo>
                    <a:pt x="345865" y="1072055"/>
                    <a:pt x="0" y="726190"/>
                    <a:pt x="0" y="299544"/>
                  </a:cubicBezTo>
                  <a:cubicBezTo>
                    <a:pt x="0" y="246213"/>
                    <a:pt x="5404" y="194145"/>
                    <a:pt x="15695" y="143856"/>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1" name="Oval 20">
              <a:extLst>
                <a:ext uri="{FF2B5EF4-FFF2-40B4-BE49-F238E27FC236}">
                  <a16:creationId xmlns:a16="http://schemas.microsoft.com/office/drawing/2014/main" id="{363E7B35-0977-2958-8F1F-932A6BBD585D}"/>
                </a:ext>
              </a:extLst>
            </p:cNvPr>
            <p:cNvSpPr/>
            <p:nvPr userDrawn="1"/>
          </p:nvSpPr>
          <p:spPr bwMode="gray">
            <a:xfrm>
              <a:off x="8304924" y="2944997"/>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2" name="Oval 21">
              <a:extLst>
                <a:ext uri="{FF2B5EF4-FFF2-40B4-BE49-F238E27FC236}">
                  <a16:creationId xmlns:a16="http://schemas.microsoft.com/office/drawing/2014/main" id="{D468B2FD-A207-7F02-CD5C-3C9A5DAC24FB}"/>
                </a:ext>
              </a:extLst>
            </p:cNvPr>
            <p:cNvSpPr/>
            <p:nvPr userDrawn="1"/>
          </p:nvSpPr>
          <p:spPr bwMode="gray">
            <a:xfrm>
              <a:off x="8304924" y="4653979"/>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58" name="Freeform: Shape 57">
              <a:extLst>
                <a:ext uri="{FF2B5EF4-FFF2-40B4-BE49-F238E27FC236}">
                  <a16:creationId xmlns:a16="http://schemas.microsoft.com/office/drawing/2014/main" id="{E0BF087B-1671-339F-71EE-72AD2DF9E947}"/>
                </a:ext>
              </a:extLst>
            </p:cNvPr>
            <p:cNvSpPr/>
            <p:nvPr userDrawn="1"/>
          </p:nvSpPr>
          <p:spPr bwMode="gray">
            <a:xfrm>
              <a:off x="8358423" y="6362961"/>
              <a:ext cx="1438024" cy="495039"/>
            </a:xfrm>
            <a:custGeom>
              <a:avLst/>
              <a:gdLst>
                <a:gd name="connsiteX0" fmla="*/ 719012 w 1438024"/>
                <a:gd name="connsiteY0" fmla="*/ 0 h 495039"/>
                <a:gd name="connsiteX1" fmla="*/ 1430815 w 1438024"/>
                <a:gd name="connsiteY1" fmla="*/ 471815 h 495039"/>
                <a:gd name="connsiteX2" fmla="*/ 1438024 w 1438024"/>
                <a:gd name="connsiteY2" fmla="*/ 495039 h 495039"/>
                <a:gd name="connsiteX3" fmla="*/ 0 w 1438024"/>
                <a:gd name="connsiteY3" fmla="*/ 495039 h 495039"/>
                <a:gd name="connsiteX4" fmla="*/ 7209 w 1438024"/>
                <a:gd name="connsiteY4" fmla="*/ 471815 h 495039"/>
                <a:gd name="connsiteX5" fmla="*/ 719012 w 1438024"/>
                <a:gd name="connsiteY5" fmla="*/ 0 h 49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8024" h="495039">
                  <a:moveTo>
                    <a:pt x="719012" y="0"/>
                  </a:moveTo>
                  <a:cubicBezTo>
                    <a:pt x="1038997" y="0"/>
                    <a:pt x="1313542" y="194549"/>
                    <a:pt x="1430815" y="471815"/>
                  </a:cubicBezTo>
                  <a:lnTo>
                    <a:pt x="1438024" y="495039"/>
                  </a:lnTo>
                  <a:lnTo>
                    <a:pt x="0" y="495039"/>
                  </a:lnTo>
                  <a:lnTo>
                    <a:pt x="7209" y="471815"/>
                  </a:lnTo>
                  <a:cubicBezTo>
                    <a:pt x="124482" y="194549"/>
                    <a:pt x="399028" y="0"/>
                    <a:pt x="719012" y="0"/>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4" name="Oval 23">
              <a:extLst>
                <a:ext uri="{FF2B5EF4-FFF2-40B4-BE49-F238E27FC236}">
                  <a16:creationId xmlns:a16="http://schemas.microsoft.com/office/drawing/2014/main" id="{034E0C3D-397E-DE88-FAC6-04E21A5AAB73}"/>
                </a:ext>
              </a:extLst>
            </p:cNvPr>
            <p:cNvSpPr/>
            <p:nvPr userDrawn="1"/>
          </p:nvSpPr>
          <p:spPr bwMode="gray">
            <a:xfrm>
              <a:off x="10019862" y="1236015"/>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52" name="Freeform: Shape 51">
              <a:extLst>
                <a:ext uri="{FF2B5EF4-FFF2-40B4-BE49-F238E27FC236}">
                  <a16:creationId xmlns:a16="http://schemas.microsoft.com/office/drawing/2014/main" id="{4FDBECEC-0C7A-342C-2AF3-789E986ADB59}"/>
                </a:ext>
              </a:extLst>
            </p:cNvPr>
            <p:cNvSpPr/>
            <p:nvPr userDrawn="1"/>
          </p:nvSpPr>
          <p:spPr bwMode="gray">
            <a:xfrm>
              <a:off x="10019861" y="0"/>
              <a:ext cx="1545022" cy="1072055"/>
            </a:xfrm>
            <a:custGeom>
              <a:avLst/>
              <a:gdLst>
                <a:gd name="connsiteX0" fmla="*/ 60350 w 1545022"/>
                <a:gd name="connsiteY0" fmla="*/ 0 h 1072055"/>
                <a:gd name="connsiteX1" fmla="*/ 1484672 w 1545022"/>
                <a:gd name="connsiteY1" fmla="*/ 0 h 1072055"/>
                <a:gd name="connsiteX2" fmla="*/ 1529327 w 1545022"/>
                <a:gd name="connsiteY2" fmla="*/ 143856 h 1072055"/>
                <a:gd name="connsiteX3" fmla="*/ 1545022 w 1545022"/>
                <a:gd name="connsiteY3" fmla="*/ 299544 h 1072055"/>
                <a:gd name="connsiteX4" fmla="*/ 772511 w 1545022"/>
                <a:gd name="connsiteY4" fmla="*/ 1072055 h 1072055"/>
                <a:gd name="connsiteX5" fmla="*/ 0 w 1545022"/>
                <a:gd name="connsiteY5" fmla="*/ 299544 h 1072055"/>
                <a:gd name="connsiteX6" fmla="*/ 15695 w 1545022"/>
                <a:gd name="connsiteY6" fmla="*/ 143856 h 107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022" h="1072055">
                  <a:moveTo>
                    <a:pt x="60350" y="0"/>
                  </a:moveTo>
                  <a:lnTo>
                    <a:pt x="1484672" y="0"/>
                  </a:lnTo>
                  <a:lnTo>
                    <a:pt x="1529327" y="143856"/>
                  </a:lnTo>
                  <a:cubicBezTo>
                    <a:pt x="1539618" y="194145"/>
                    <a:pt x="1545022" y="246213"/>
                    <a:pt x="1545022" y="299544"/>
                  </a:cubicBezTo>
                  <a:cubicBezTo>
                    <a:pt x="1545022" y="726190"/>
                    <a:pt x="1199157" y="1072055"/>
                    <a:pt x="772511" y="1072055"/>
                  </a:cubicBezTo>
                  <a:cubicBezTo>
                    <a:pt x="345865" y="1072055"/>
                    <a:pt x="0" y="726190"/>
                    <a:pt x="0" y="299544"/>
                  </a:cubicBezTo>
                  <a:cubicBezTo>
                    <a:pt x="0" y="246213"/>
                    <a:pt x="5404" y="194145"/>
                    <a:pt x="15695" y="143856"/>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0" name="Freeform: Shape 59">
              <a:extLst>
                <a:ext uri="{FF2B5EF4-FFF2-40B4-BE49-F238E27FC236}">
                  <a16:creationId xmlns:a16="http://schemas.microsoft.com/office/drawing/2014/main" id="{6269BC16-0786-49DD-0879-B4F17ACBBDFB}"/>
                </a:ext>
              </a:extLst>
            </p:cNvPr>
            <p:cNvSpPr/>
            <p:nvPr userDrawn="1"/>
          </p:nvSpPr>
          <p:spPr bwMode="gray">
            <a:xfrm>
              <a:off x="10073361" y="6362961"/>
              <a:ext cx="1438024" cy="495039"/>
            </a:xfrm>
            <a:custGeom>
              <a:avLst/>
              <a:gdLst>
                <a:gd name="connsiteX0" fmla="*/ 719012 w 1438024"/>
                <a:gd name="connsiteY0" fmla="*/ 0 h 495039"/>
                <a:gd name="connsiteX1" fmla="*/ 1430815 w 1438024"/>
                <a:gd name="connsiteY1" fmla="*/ 471815 h 495039"/>
                <a:gd name="connsiteX2" fmla="*/ 1438024 w 1438024"/>
                <a:gd name="connsiteY2" fmla="*/ 495039 h 495039"/>
                <a:gd name="connsiteX3" fmla="*/ 0 w 1438024"/>
                <a:gd name="connsiteY3" fmla="*/ 495039 h 495039"/>
                <a:gd name="connsiteX4" fmla="*/ 7209 w 1438024"/>
                <a:gd name="connsiteY4" fmla="*/ 471815 h 495039"/>
                <a:gd name="connsiteX5" fmla="*/ 719012 w 1438024"/>
                <a:gd name="connsiteY5" fmla="*/ 0 h 49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8024" h="495039">
                  <a:moveTo>
                    <a:pt x="719012" y="0"/>
                  </a:moveTo>
                  <a:cubicBezTo>
                    <a:pt x="1038996" y="0"/>
                    <a:pt x="1313542" y="194549"/>
                    <a:pt x="1430815" y="471815"/>
                  </a:cubicBezTo>
                  <a:lnTo>
                    <a:pt x="1438024" y="495039"/>
                  </a:lnTo>
                  <a:lnTo>
                    <a:pt x="0" y="495039"/>
                  </a:lnTo>
                  <a:lnTo>
                    <a:pt x="7209" y="471815"/>
                  </a:lnTo>
                  <a:cubicBezTo>
                    <a:pt x="124482" y="194549"/>
                    <a:pt x="399028" y="0"/>
                    <a:pt x="719012" y="0"/>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8" name="Freeform: Shape 67">
              <a:extLst>
                <a:ext uri="{FF2B5EF4-FFF2-40B4-BE49-F238E27FC236}">
                  <a16:creationId xmlns:a16="http://schemas.microsoft.com/office/drawing/2014/main" id="{3AEDD267-848C-A5FB-9D8A-FA5F032E4A6F}"/>
                </a:ext>
              </a:extLst>
            </p:cNvPr>
            <p:cNvSpPr/>
            <p:nvPr userDrawn="1"/>
          </p:nvSpPr>
          <p:spPr bwMode="gray">
            <a:xfrm>
              <a:off x="11734799" y="1304655"/>
              <a:ext cx="457201" cy="1407742"/>
            </a:xfrm>
            <a:custGeom>
              <a:avLst/>
              <a:gdLst>
                <a:gd name="connsiteX0" fmla="*/ 457201 w 457201"/>
                <a:gd name="connsiteY0" fmla="*/ 0 h 1407742"/>
                <a:gd name="connsiteX1" fmla="*/ 457201 w 457201"/>
                <a:gd name="connsiteY1" fmla="*/ 1407742 h 1407742"/>
                <a:gd name="connsiteX2" fmla="*/ 340593 w 457201"/>
                <a:gd name="connsiteY2" fmla="*/ 1344449 h 1407742"/>
                <a:gd name="connsiteX3" fmla="*/ 0 w 457201"/>
                <a:gd name="connsiteY3" fmla="*/ 703871 h 1407742"/>
                <a:gd name="connsiteX4" fmla="*/ 340593 w 457201"/>
                <a:gd name="connsiteY4" fmla="*/ 63293 h 1407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1" h="1407742">
                  <a:moveTo>
                    <a:pt x="457201" y="0"/>
                  </a:moveTo>
                  <a:lnTo>
                    <a:pt x="457201" y="1407742"/>
                  </a:lnTo>
                  <a:lnTo>
                    <a:pt x="340593" y="1344449"/>
                  </a:lnTo>
                  <a:cubicBezTo>
                    <a:pt x="135104" y="1205624"/>
                    <a:pt x="0" y="970525"/>
                    <a:pt x="0" y="703871"/>
                  </a:cubicBezTo>
                  <a:cubicBezTo>
                    <a:pt x="0" y="437217"/>
                    <a:pt x="135104" y="202119"/>
                    <a:pt x="340593" y="63293"/>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6" name="Freeform: Shape 65">
              <a:extLst>
                <a:ext uri="{FF2B5EF4-FFF2-40B4-BE49-F238E27FC236}">
                  <a16:creationId xmlns:a16="http://schemas.microsoft.com/office/drawing/2014/main" id="{5ED7ADAF-20AD-CD1B-AA2C-238E34F98CA6}"/>
                </a:ext>
              </a:extLst>
            </p:cNvPr>
            <p:cNvSpPr/>
            <p:nvPr userDrawn="1"/>
          </p:nvSpPr>
          <p:spPr bwMode="gray">
            <a:xfrm>
              <a:off x="11734799" y="3013637"/>
              <a:ext cx="457201" cy="1407742"/>
            </a:xfrm>
            <a:custGeom>
              <a:avLst/>
              <a:gdLst>
                <a:gd name="connsiteX0" fmla="*/ 457201 w 457201"/>
                <a:gd name="connsiteY0" fmla="*/ 0 h 1407742"/>
                <a:gd name="connsiteX1" fmla="*/ 457201 w 457201"/>
                <a:gd name="connsiteY1" fmla="*/ 1407742 h 1407742"/>
                <a:gd name="connsiteX2" fmla="*/ 340593 w 457201"/>
                <a:gd name="connsiteY2" fmla="*/ 1344449 h 1407742"/>
                <a:gd name="connsiteX3" fmla="*/ 0 w 457201"/>
                <a:gd name="connsiteY3" fmla="*/ 703871 h 1407742"/>
                <a:gd name="connsiteX4" fmla="*/ 340593 w 457201"/>
                <a:gd name="connsiteY4" fmla="*/ 63293 h 1407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1" h="1407742">
                  <a:moveTo>
                    <a:pt x="457201" y="0"/>
                  </a:moveTo>
                  <a:lnTo>
                    <a:pt x="457201" y="1407742"/>
                  </a:lnTo>
                  <a:lnTo>
                    <a:pt x="340593" y="1344449"/>
                  </a:lnTo>
                  <a:cubicBezTo>
                    <a:pt x="135104" y="1205624"/>
                    <a:pt x="0" y="970525"/>
                    <a:pt x="0" y="703871"/>
                  </a:cubicBezTo>
                  <a:cubicBezTo>
                    <a:pt x="0" y="437217"/>
                    <a:pt x="135104" y="202119"/>
                    <a:pt x="340593" y="63293"/>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4" name="Freeform: Shape 63">
              <a:extLst>
                <a:ext uri="{FF2B5EF4-FFF2-40B4-BE49-F238E27FC236}">
                  <a16:creationId xmlns:a16="http://schemas.microsoft.com/office/drawing/2014/main" id="{37D54519-2872-A533-DCC5-47D5C6393FC6}"/>
                </a:ext>
              </a:extLst>
            </p:cNvPr>
            <p:cNvSpPr/>
            <p:nvPr userDrawn="1"/>
          </p:nvSpPr>
          <p:spPr bwMode="gray">
            <a:xfrm>
              <a:off x="11734799" y="4722619"/>
              <a:ext cx="457201" cy="1407742"/>
            </a:xfrm>
            <a:custGeom>
              <a:avLst/>
              <a:gdLst>
                <a:gd name="connsiteX0" fmla="*/ 457201 w 457201"/>
                <a:gd name="connsiteY0" fmla="*/ 0 h 1407742"/>
                <a:gd name="connsiteX1" fmla="*/ 457201 w 457201"/>
                <a:gd name="connsiteY1" fmla="*/ 1407742 h 1407742"/>
                <a:gd name="connsiteX2" fmla="*/ 340593 w 457201"/>
                <a:gd name="connsiteY2" fmla="*/ 1344449 h 1407742"/>
                <a:gd name="connsiteX3" fmla="*/ 0 w 457201"/>
                <a:gd name="connsiteY3" fmla="*/ 703871 h 1407742"/>
                <a:gd name="connsiteX4" fmla="*/ 340593 w 457201"/>
                <a:gd name="connsiteY4" fmla="*/ 63293 h 1407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1" h="1407742">
                  <a:moveTo>
                    <a:pt x="457201" y="0"/>
                  </a:moveTo>
                  <a:lnTo>
                    <a:pt x="457201" y="1407742"/>
                  </a:lnTo>
                  <a:lnTo>
                    <a:pt x="340593" y="1344449"/>
                  </a:lnTo>
                  <a:cubicBezTo>
                    <a:pt x="135104" y="1205624"/>
                    <a:pt x="0" y="970525"/>
                    <a:pt x="0" y="703871"/>
                  </a:cubicBezTo>
                  <a:cubicBezTo>
                    <a:pt x="0" y="437218"/>
                    <a:pt x="135104" y="202119"/>
                    <a:pt x="340593" y="63293"/>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9" name="Oval 38">
              <a:extLst>
                <a:ext uri="{FF2B5EF4-FFF2-40B4-BE49-F238E27FC236}">
                  <a16:creationId xmlns:a16="http://schemas.microsoft.com/office/drawing/2014/main" id="{EC7687F7-D23D-6201-BEE3-892874D8718A}"/>
                </a:ext>
              </a:extLst>
            </p:cNvPr>
            <p:cNvSpPr/>
            <p:nvPr userDrawn="1"/>
          </p:nvSpPr>
          <p:spPr bwMode="gray">
            <a:xfrm>
              <a:off x="6589986" y="4653979"/>
              <a:ext cx="1545336" cy="1545336"/>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0C7066E1-8421-E54F-0775-4B85647AA3E0}"/>
                </a:ext>
              </a:extLst>
            </p:cNvPr>
            <p:cNvSpPr/>
            <p:nvPr userDrawn="1"/>
          </p:nvSpPr>
          <p:spPr bwMode="gray">
            <a:xfrm>
              <a:off x="8304609" y="1236015"/>
              <a:ext cx="1545336" cy="1545336"/>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15FC7138-1FBA-E2EA-8970-50FB3A32AE0E}"/>
                </a:ext>
              </a:extLst>
            </p:cNvPr>
            <p:cNvSpPr/>
            <p:nvPr userDrawn="1"/>
          </p:nvSpPr>
          <p:spPr bwMode="gray">
            <a:xfrm>
              <a:off x="10019547" y="2944997"/>
              <a:ext cx="1545336" cy="1545336"/>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Freeform: Shape 53">
              <a:extLst>
                <a:ext uri="{FF2B5EF4-FFF2-40B4-BE49-F238E27FC236}">
                  <a16:creationId xmlns:a16="http://schemas.microsoft.com/office/drawing/2014/main" id="{C424E259-A640-957E-36A7-7D985103E625}"/>
                </a:ext>
              </a:extLst>
            </p:cNvPr>
            <p:cNvSpPr/>
            <p:nvPr userDrawn="1"/>
          </p:nvSpPr>
          <p:spPr bwMode="gray">
            <a:xfrm>
              <a:off x="11734800" y="1"/>
              <a:ext cx="457201" cy="1003665"/>
            </a:xfrm>
            <a:custGeom>
              <a:avLst/>
              <a:gdLst>
                <a:gd name="connsiteX0" fmla="*/ 60392 w 457201"/>
                <a:gd name="connsiteY0" fmla="*/ 0 h 1003665"/>
                <a:gd name="connsiteX1" fmla="*/ 457201 w 457201"/>
                <a:gd name="connsiteY1" fmla="*/ 0 h 1003665"/>
                <a:gd name="connsiteX2" fmla="*/ 457201 w 457201"/>
                <a:gd name="connsiteY2" fmla="*/ 1003665 h 1003665"/>
                <a:gd name="connsiteX3" fmla="*/ 340662 w 457201"/>
                <a:gd name="connsiteY3" fmla="*/ 940410 h 1003665"/>
                <a:gd name="connsiteX4" fmla="*/ 0 w 457201"/>
                <a:gd name="connsiteY4" fmla="*/ 299701 h 1003665"/>
                <a:gd name="connsiteX5" fmla="*/ 15698 w 457201"/>
                <a:gd name="connsiteY5" fmla="*/ 143981 h 1003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201" h="1003665">
                  <a:moveTo>
                    <a:pt x="60392" y="0"/>
                  </a:moveTo>
                  <a:lnTo>
                    <a:pt x="457201" y="0"/>
                  </a:lnTo>
                  <a:lnTo>
                    <a:pt x="457201" y="1003665"/>
                  </a:lnTo>
                  <a:lnTo>
                    <a:pt x="340662" y="940410"/>
                  </a:lnTo>
                  <a:cubicBezTo>
                    <a:pt x="135131" y="801556"/>
                    <a:pt x="0" y="566409"/>
                    <a:pt x="0" y="299701"/>
                  </a:cubicBezTo>
                  <a:cubicBezTo>
                    <a:pt x="0" y="246359"/>
                    <a:pt x="5405" y="194280"/>
                    <a:pt x="15698" y="143981"/>
                  </a:cubicBezTo>
                  <a:close/>
                </a:path>
              </a:pathLst>
            </a:cu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2" name="Freeform: Shape 61">
              <a:extLst>
                <a:ext uri="{FF2B5EF4-FFF2-40B4-BE49-F238E27FC236}">
                  <a16:creationId xmlns:a16="http://schemas.microsoft.com/office/drawing/2014/main" id="{000C2C3B-7D7E-56F2-7B74-0F8405A16F69}"/>
                </a:ext>
              </a:extLst>
            </p:cNvPr>
            <p:cNvSpPr/>
            <p:nvPr userDrawn="1"/>
          </p:nvSpPr>
          <p:spPr bwMode="gray">
            <a:xfrm>
              <a:off x="11788340" y="6431666"/>
              <a:ext cx="403660" cy="426335"/>
            </a:xfrm>
            <a:custGeom>
              <a:avLst/>
              <a:gdLst>
                <a:gd name="connsiteX0" fmla="*/ 403660 w 403660"/>
                <a:gd name="connsiteY0" fmla="*/ 0 h 426335"/>
                <a:gd name="connsiteX1" fmla="*/ 403660 w 403660"/>
                <a:gd name="connsiteY1" fmla="*/ 426335 h 426335"/>
                <a:gd name="connsiteX2" fmla="*/ 0 w 403660"/>
                <a:gd name="connsiteY2" fmla="*/ 426335 h 426335"/>
                <a:gd name="connsiteX3" fmla="*/ 7179 w 403660"/>
                <a:gd name="connsiteY3" fmla="*/ 403207 h 426335"/>
                <a:gd name="connsiteX4" fmla="*/ 287121 w 403660"/>
                <a:gd name="connsiteY4" fmla="*/ 63256 h 426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660" h="426335">
                  <a:moveTo>
                    <a:pt x="403660" y="0"/>
                  </a:moveTo>
                  <a:lnTo>
                    <a:pt x="403660" y="426335"/>
                  </a:lnTo>
                  <a:lnTo>
                    <a:pt x="0" y="426335"/>
                  </a:lnTo>
                  <a:lnTo>
                    <a:pt x="7179" y="403207"/>
                  </a:lnTo>
                  <a:cubicBezTo>
                    <a:pt x="65828" y="264546"/>
                    <a:pt x="163802" y="146568"/>
                    <a:pt x="287121" y="63256"/>
                  </a:cubicBezTo>
                  <a:close/>
                </a:path>
              </a:pathLst>
            </a:cu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8" name="Freeform: Shape 47">
              <a:extLst>
                <a:ext uri="{FF2B5EF4-FFF2-40B4-BE49-F238E27FC236}">
                  <a16:creationId xmlns:a16="http://schemas.microsoft.com/office/drawing/2014/main" id="{F955DF93-96B0-4F76-47E3-7823232F73D0}"/>
                </a:ext>
              </a:extLst>
            </p:cNvPr>
            <p:cNvSpPr/>
            <p:nvPr userDrawn="1"/>
          </p:nvSpPr>
          <p:spPr bwMode="gray">
            <a:xfrm>
              <a:off x="6589986" y="1"/>
              <a:ext cx="1545022" cy="1072055"/>
            </a:xfrm>
            <a:custGeom>
              <a:avLst/>
              <a:gdLst>
                <a:gd name="connsiteX0" fmla="*/ 60350 w 1545022"/>
                <a:gd name="connsiteY0" fmla="*/ 0 h 1072055"/>
                <a:gd name="connsiteX1" fmla="*/ 1484672 w 1545022"/>
                <a:gd name="connsiteY1" fmla="*/ 0 h 1072055"/>
                <a:gd name="connsiteX2" fmla="*/ 1529328 w 1545022"/>
                <a:gd name="connsiteY2" fmla="*/ 143856 h 1072055"/>
                <a:gd name="connsiteX3" fmla="*/ 1545022 w 1545022"/>
                <a:gd name="connsiteY3" fmla="*/ 299544 h 1072055"/>
                <a:gd name="connsiteX4" fmla="*/ 772511 w 1545022"/>
                <a:gd name="connsiteY4" fmla="*/ 1072055 h 1072055"/>
                <a:gd name="connsiteX5" fmla="*/ 0 w 1545022"/>
                <a:gd name="connsiteY5" fmla="*/ 299544 h 1072055"/>
                <a:gd name="connsiteX6" fmla="*/ 15695 w 1545022"/>
                <a:gd name="connsiteY6" fmla="*/ 143856 h 107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022" h="1072055">
                  <a:moveTo>
                    <a:pt x="60350" y="0"/>
                  </a:moveTo>
                  <a:lnTo>
                    <a:pt x="1484672" y="0"/>
                  </a:lnTo>
                  <a:lnTo>
                    <a:pt x="1529328" y="143856"/>
                  </a:lnTo>
                  <a:cubicBezTo>
                    <a:pt x="1539618" y="194145"/>
                    <a:pt x="1545022" y="246213"/>
                    <a:pt x="1545022" y="299544"/>
                  </a:cubicBezTo>
                  <a:cubicBezTo>
                    <a:pt x="1545022" y="726190"/>
                    <a:pt x="1199157" y="1072055"/>
                    <a:pt x="772511" y="1072055"/>
                  </a:cubicBezTo>
                  <a:cubicBezTo>
                    <a:pt x="345865" y="1072055"/>
                    <a:pt x="0" y="726190"/>
                    <a:pt x="0" y="299544"/>
                  </a:cubicBezTo>
                  <a:cubicBezTo>
                    <a:pt x="0" y="246213"/>
                    <a:pt x="5404" y="194145"/>
                    <a:pt x="15695" y="143856"/>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 name="Graphic 41">
              <a:extLst>
                <a:ext uri="{FF2B5EF4-FFF2-40B4-BE49-F238E27FC236}">
                  <a16:creationId xmlns:a16="http://schemas.microsoft.com/office/drawing/2014/main" id="{216129F6-7635-23A0-12D0-C199AE882F29}"/>
                </a:ext>
              </a:extLst>
            </p:cNvPr>
            <p:cNvSpPr/>
            <p:nvPr/>
          </p:nvSpPr>
          <p:spPr bwMode="gray">
            <a:xfrm>
              <a:off x="10019862" y="4653979"/>
              <a:ext cx="1545336" cy="1545336"/>
            </a:xfrm>
            <a:custGeom>
              <a:avLst/>
              <a:gdLst>
                <a:gd name="connsiteX0" fmla="*/ 772668 w 1545336"/>
                <a:gd name="connsiteY0" fmla="*/ 0 h 1545336"/>
                <a:gd name="connsiteX1" fmla="*/ 0 w 1545336"/>
                <a:gd name="connsiteY1" fmla="*/ 772668 h 1545336"/>
                <a:gd name="connsiteX2" fmla="*/ 772668 w 1545336"/>
                <a:gd name="connsiteY2" fmla="*/ 1545336 h 1545336"/>
                <a:gd name="connsiteX3" fmla="*/ 1545336 w 1545336"/>
                <a:gd name="connsiteY3" fmla="*/ 772668 h 1545336"/>
                <a:gd name="connsiteX4" fmla="*/ 772668 w 1545336"/>
                <a:gd name="connsiteY4" fmla="*/ 0 h 1545336"/>
                <a:gd name="connsiteX5" fmla="*/ 772668 w 1545336"/>
                <a:gd name="connsiteY5" fmla="*/ 1170704 h 1545336"/>
                <a:gd name="connsiteX6" fmla="*/ 374632 w 1545336"/>
                <a:gd name="connsiteY6" fmla="*/ 772668 h 1545336"/>
                <a:gd name="connsiteX7" fmla="*/ 772668 w 1545336"/>
                <a:gd name="connsiteY7" fmla="*/ 374632 h 1545336"/>
                <a:gd name="connsiteX8" fmla="*/ 1170704 w 1545336"/>
                <a:gd name="connsiteY8" fmla="*/ 772668 h 1545336"/>
                <a:gd name="connsiteX9" fmla="*/ 772668 w 1545336"/>
                <a:gd name="connsiteY9" fmla="*/ 1170704 h 1545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5336" h="1545336">
                  <a:moveTo>
                    <a:pt x="772668" y="0"/>
                  </a:moveTo>
                  <a:cubicBezTo>
                    <a:pt x="345869" y="0"/>
                    <a:pt x="0" y="345869"/>
                    <a:pt x="0" y="772668"/>
                  </a:cubicBezTo>
                  <a:cubicBezTo>
                    <a:pt x="0" y="1199467"/>
                    <a:pt x="345869" y="1545336"/>
                    <a:pt x="772668" y="1545336"/>
                  </a:cubicBezTo>
                  <a:cubicBezTo>
                    <a:pt x="1199467" y="1545336"/>
                    <a:pt x="1545336" y="1199467"/>
                    <a:pt x="1545336" y="772668"/>
                  </a:cubicBezTo>
                  <a:cubicBezTo>
                    <a:pt x="1545336" y="345869"/>
                    <a:pt x="1199467" y="0"/>
                    <a:pt x="772668" y="0"/>
                  </a:cubicBezTo>
                  <a:close/>
                  <a:moveTo>
                    <a:pt x="772668" y="1170704"/>
                  </a:moveTo>
                  <a:cubicBezTo>
                    <a:pt x="552927" y="1170704"/>
                    <a:pt x="374632" y="992409"/>
                    <a:pt x="374632" y="772668"/>
                  </a:cubicBezTo>
                  <a:cubicBezTo>
                    <a:pt x="374632" y="552927"/>
                    <a:pt x="552927" y="374632"/>
                    <a:pt x="772668" y="374632"/>
                  </a:cubicBezTo>
                  <a:cubicBezTo>
                    <a:pt x="992409" y="374632"/>
                    <a:pt x="1170704" y="552927"/>
                    <a:pt x="1170704" y="772668"/>
                  </a:cubicBezTo>
                  <a:cubicBezTo>
                    <a:pt x="1170704" y="992409"/>
                    <a:pt x="992588" y="1170704"/>
                    <a:pt x="772668" y="1170704"/>
                  </a:cubicBezTo>
                  <a:close/>
                </a:path>
              </a:pathLst>
            </a:custGeom>
            <a:solidFill>
              <a:schemeClr val="tx2"/>
            </a:solidFill>
            <a:ln w="1784" cap="flat">
              <a:noFill/>
              <a:prstDash val="solid"/>
              <a:miter/>
            </a:ln>
          </p:spPr>
          <p:txBody>
            <a:bodyPr rtlCol="0" anchor="ctr"/>
            <a:lstStyle/>
            <a:p>
              <a:endParaRPr lang="en-US"/>
            </a:p>
          </p:txBody>
        </p:sp>
      </p:grpSp>
      <p:sp>
        <p:nvSpPr>
          <p:cNvPr id="6" name="Date Placeholder 5">
            <a:extLst>
              <a:ext uri="{FF2B5EF4-FFF2-40B4-BE49-F238E27FC236}">
                <a16:creationId xmlns:a16="http://schemas.microsoft.com/office/drawing/2014/main" id="{E23FAE9B-982D-41B9-BBD2-74E842A46071}"/>
              </a:ext>
            </a:extLst>
          </p:cNvPr>
          <p:cNvSpPr>
            <a:spLocks noGrp="1"/>
          </p:cNvSpPr>
          <p:nvPr userDrawn="1">
            <p:ph type="dt" sz="half" idx="12"/>
          </p:nvPr>
        </p:nvSpPr>
        <p:spPr bwMode="gray"/>
        <p:txBody>
          <a:bodyPr/>
          <a:lstStyle/>
          <a:p>
            <a:fld id="{7F9D45FD-5E41-4099-8C3D-34BB181680CA}" type="datetime1">
              <a:rPr lang="en-US" smtClean="0"/>
              <a:t>3/27/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userDrawn="1">
            <p:ph type="ftr" sz="quarter" idx="13"/>
          </p:nvPr>
        </p:nvSpPr>
        <p:spPr bwMode="gray"/>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userDrawn="1">
            <p:ph type="sldNum" sz="quarter" idx="14"/>
          </p:nvPr>
        </p:nvSpPr>
        <p:spPr bwMode="gray"/>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1984973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746">
          <p15:clr>
            <a:srgbClr val="FBAE40"/>
          </p15:clr>
        </p15:guide>
        <p15:guide id="3" orient="horz" pos="2725">
          <p15:clr>
            <a:srgbClr val="FBAE40"/>
          </p15:clr>
        </p15:guide>
        <p15:guide id="4" orient="horz" pos="291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 Circl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469812" y="2810560"/>
            <a:ext cx="8604338" cy="1523494"/>
          </a:xfrm>
        </p:spPr>
        <p:txBody>
          <a:bodyPr anchor="b"/>
          <a:lstStyle>
            <a:lvl1pPr algn="l">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469812" y="4615025"/>
            <a:ext cx="8604338" cy="332399"/>
          </a:xfrm>
        </p:spPr>
        <p:txBody>
          <a:bodyPr wrap="square">
            <a:spAutoFit/>
          </a:bodyPr>
          <a:lstStyle>
            <a:lvl1pPr marL="0" indent="0" algn="l">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grpSp>
        <p:nvGrpSpPr>
          <p:cNvPr id="48" name="Group 47">
            <a:extLst>
              <a:ext uri="{FF2B5EF4-FFF2-40B4-BE49-F238E27FC236}">
                <a16:creationId xmlns:a16="http://schemas.microsoft.com/office/drawing/2014/main" id="{3EA1B8D7-9ADB-3DDE-9371-85C6645E7BB3}"/>
              </a:ext>
              <a:ext uri="{C183D7F6-B498-43B3-948B-1728B52AA6E4}">
                <adec:decorative xmlns:adec="http://schemas.microsoft.com/office/drawing/2017/decorative" val="1"/>
              </a:ext>
            </a:extLst>
          </p:cNvPr>
          <p:cNvGrpSpPr/>
          <p:nvPr userDrawn="1"/>
        </p:nvGrpSpPr>
        <p:grpSpPr bwMode="gray">
          <a:xfrm>
            <a:off x="54842" y="0"/>
            <a:ext cx="12082315" cy="1973843"/>
            <a:chOff x="54842" y="0"/>
            <a:chExt cx="12082315" cy="1973843"/>
          </a:xfrm>
        </p:grpSpPr>
        <p:sp>
          <p:nvSpPr>
            <p:cNvPr id="11" name="Oval 10">
              <a:extLst>
                <a:ext uri="{FF2B5EF4-FFF2-40B4-BE49-F238E27FC236}">
                  <a16:creationId xmlns:a16="http://schemas.microsoft.com/office/drawing/2014/main" id="{45408BF3-12B3-5EB8-575C-D8497B369C05}"/>
                </a:ext>
              </a:extLst>
            </p:cNvPr>
            <p:cNvSpPr/>
            <p:nvPr userDrawn="1"/>
          </p:nvSpPr>
          <p:spPr bwMode="gray">
            <a:xfrm>
              <a:off x="54842"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2" name="Oval 11">
              <a:extLst>
                <a:ext uri="{FF2B5EF4-FFF2-40B4-BE49-F238E27FC236}">
                  <a16:creationId xmlns:a16="http://schemas.microsoft.com/office/drawing/2014/main" id="{E0D13DA4-81E2-50FD-CB8F-F687CAAFE983}"/>
                </a:ext>
              </a:extLst>
            </p:cNvPr>
            <p:cNvSpPr/>
            <p:nvPr userDrawn="1"/>
          </p:nvSpPr>
          <p:spPr bwMode="gray">
            <a:xfrm>
              <a:off x="1583593"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3" name="Oval 12">
              <a:extLst>
                <a:ext uri="{FF2B5EF4-FFF2-40B4-BE49-F238E27FC236}">
                  <a16:creationId xmlns:a16="http://schemas.microsoft.com/office/drawing/2014/main" id="{13D90D3F-2BA4-1458-10B8-EA8D4976B63A}"/>
                </a:ext>
              </a:extLst>
            </p:cNvPr>
            <p:cNvSpPr/>
            <p:nvPr userDrawn="1"/>
          </p:nvSpPr>
          <p:spPr bwMode="gray">
            <a:xfrm>
              <a:off x="4641095"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4" name="Oval 13">
              <a:extLst>
                <a:ext uri="{FF2B5EF4-FFF2-40B4-BE49-F238E27FC236}">
                  <a16:creationId xmlns:a16="http://schemas.microsoft.com/office/drawing/2014/main" id="{4DCB16C8-9803-2EA0-612C-645E80D42A45}"/>
                </a:ext>
              </a:extLst>
            </p:cNvPr>
            <p:cNvSpPr/>
            <p:nvPr userDrawn="1"/>
          </p:nvSpPr>
          <p:spPr bwMode="gray">
            <a:xfrm>
              <a:off x="6169846"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5" name="Oval 14">
              <a:extLst>
                <a:ext uri="{FF2B5EF4-FFF2-40B4-BE49-F238E27FC236}">
                  <a16:creationId xmlns:a16="http://schemas.microsoft.com/office/drawing/2014/main" id="{4B1A2BF2-54F2-4603-370F-41FCBB67DF1E}"/>
                </a:ext>
              </a:extLst>
            </p:cNvPr>
            <p:cNvSpPr/>
            <p:nvPr userDrawn="1"/>
          </p:nvSpPr>
          <p:spPr bwMode="gray">
            <a:xfrm>
              <a:off x="7698597"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6" name="Oval 15">
              <a:extLst>
                <a:ext uri="{FF2B5EF4-FFF2-40B4-BE49-F238E27FC236}">
                  <a16:creationId xmlns:a16="http://schemas.microsoft.com/office/drawing/2014/main" id="{B0643C41-E924-5D4F-863E-8D12F4E2CB6A}"/>
                </a:ext>
              </a:extLst>
            </p:cNvPr>
            <p:cNvSpPr/>
            <p:nvPr userDrawn="1"/>
          </p:nvSpPr>
          <p:spPr bwMode="gray">
            <a:xfrm>
              <a:off x="10756096"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7" name="Freeform: Shape 36">
              <a:extLst>
                <a:ext uri="{FF2B5EF4-FFF2-40B4-BE49-F238E27FC236}">
                  <a16:creationId xmlns:a16="http://schemas.microsoft.com/office/drawing/2014/main" id="{04FA45B6-F11B-DD60-D08A-B84E5DDDD7E0}"/>
                </a:ext>
              </a:extLst>
            </p:cNvPr>
            <p:cNvSpPr/>
            <p:nvPr userDrawn="1"/>
          </p:nvSpPr>
          <p:spPr bwMode="gray">
            <a:xfrm>
              <a:off x="3159090"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19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19"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45" name="Freeform: Shape 44">
              <a:extLst>
                <a:ext uri="{FF2B5EF4-FFF2-40B4-BE49-F238E27FC236}">
                  <a16:creationId xmlns:a16="http://schemas.microsoft.com/office/drawing/2014/main" id="{D47E8F51-03A8-7D64-A4F0-A5D1EEFB69C4}"/>
                </a:ext>
              </a:extLst>
            </p:cNvPr>
            <p:cNvSpPr/>
            <p:nvPr userDrawn="1"/>
          </p:nvSpPr>
          <p:spPr bwMode="gray">
            <a:xfrm>
              <a:off x="9274094" y="0"/>
              <a:ext cx="1287570" cy="445969"/>
            </a:xfrm>
            <a:custGeom>
              <a:avLst/>
              <a:gdLst>
                <a:gd name="connsiteX0" fmla="*/ 0 w 1287570"/>
                <a:gd name="connsiteY0" fmla="*/ 0 h 445969"/>
                <a:gd name="connsiteX1" fmla="*/ 1287570 w 1287570"/>
                <a:gd name="connsiteY1" fmla="*/ 0 h 445969"/>
                <a:gd name="connsiteX2" fmla="*/ 1280051 w 1287570"/>
                <a:gd name="connsiteY2" fmla="*/ 24224 h 445969"/>
                <a:gd name="connsiteX3" fmla="*/ 643785 w 1287570"/>
                <a:gd name="connsiteY3" fmla="*/ 445969 h 445969"/>
                <a:gd name="connsiteX4" fmla="*/ 7519 w 1287570"/>
                <a:gd name="connsiteY4" fmla="*/ 24224 h 445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0" h="445969">
                  <a:moveTo>
                    <a:pt x="0" y="0"/>
                  </a:moveTo>
                  <a:lnTo>
                    <a:pt x="1287570" y="0"/>
                  </a:lnTo>
                  <a:lnTo>
                    <a:pt x="1280051" y="24224"/>
                  </a:lnTo>
                  <a:cubicBezTo>
                    <a:pt x="1175222" y="272066"/>
                    <a:pt x="929813" y="445969"/>
                    <a:pt x="643785" y="445969"/>
                  </a:cubicBezTo>
                  <a:cubicBezTo>
                    <a:pt x="357758" y="445969"/>
                    <a:pt x="112348" y="272066"/>
                    <a:pt x="7519" y="24224"/>
                  </a:cubicBez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Freeform: Shape 34">
              <a:extLst>
                <a:ext uri="{FF2B5EF4-FFF2-40B4-BE49-F238E27FC236}">
                  <a16:creationId xmlns:a16="http://schemas.microsoft.com/office/drawing/2014/main" id="{2301D317-D650-835D-E843-610B1410E873}"/>
                </a:ext>
              </a:extLst>
            </p:cNvPr>
            <p:cNvSpPr/>
            <p:nvPr userDrawn="1"/>
          </p:nvSpPr>
          <p:spPr bwMode="gray">
            <a:xfrm>
              <a:off x="1630339"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19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19"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9" name="Freeform: Shape 38">
              <a:extLst>
                <a:ext uri="{FF2B5EF4-FFF2-40B4-BE49-F238E27FC236}">
                  <a16:creationId xmlns:a16="http://schemas.microsoft.com/office/drawing/2014/main" id="{D8CD8AD1-D226-9098-AAF5-5580EC402165}"/>
                </a:ext>
              </a:extLst>
            </p:cNvPr>
            <p:cNvSpPr/>
            <p:nvPr userDrawn="1"/>
          </p:nvSpPr>
          <p:spPr bwMode="gray">
            <a:xfrm>
              <a:off x="4687841"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20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20"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43" name="Freeform: Shape 42">
              <a:extLst>
                <a:ext uri="{FF2B5EF4-FFF2-40B4-BE49-F238E27FC236}">
                  <a16:creationId xmlns:a16="http://schemas.microsoft.com/office/drawing/2014/main" id="{B158F4A7-6BA7-CC17-BB62-B5E4100D9A53}"/>
                </a:ext>
              </a:extLst>
            </p:cNvPr>
            <p:cNvSpPr/>
            <p:nvPr userDrawn="1"/>
          </p:nvSpPr>
          <p:spPr bwMode="gray">
            <a:xfrm>
              <a:off x="7745343"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20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2" y="272067"/>
                    <a:pt x="929813" y="445970"/>
                    <a:pt x="643785" y="445970"/>
                  </a:cubicBezTo>
                  <a:cubicBezTo>
                    <a:pt x="357758" y="445970"/>
                    <a:pt x="112348" y="272067"/>
                    <a:pt x="7520"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47" name="Freeform: Shape 46">
              <a:extLst>
                <a:ext uri="{FF2B5EF4-FFF2-40B4-BE49-F238E27FC236}">
                  <a16:creationId xmlns:a16="http://schemas.microsoft.com/office/drawing/2014/main" id="{17DCDF6A-7249-E2C8-1CB5-B494A4E164E3}"/>
                </a:ext>
              </a:extLst>
            </p:cNvPr>
            <p:cNvSpPr/>
            <p:nvPr userDrawn="1"/>
          </p:nvSpPr>
          <p:spPr bwMode="gray">
            <a:xfrm>
              <a:off x="10802842"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19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2" y="272067"/>
                    <a:pt x="929812" y="445970"/>
                    <a:pt x="643785" y="445970"/>
                  </a:cubicBezTo>
                  <a:cubicBezTo>
                    <a:pt x="357757" y="445970"/>
                    <a:pt x="112348" y="272067"/>
                    <a:pt x="7519"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7" name="Oval 26">
              <a:extLst>
                <a:ext uri="{FF2B5EF4-FFF2-40B4-BE49-F238E27FC236}">
                  <a16:creationId xmlns:a16="http://schemas.microsoft.com/office/drawing/2014/main" id="{A328CB48-1B54-5D23-0AB7-4050CABD63F1}"/>
                </a:ext>
              </a:extLst>
            </p:cNvPr>
            <p:cNvSpPr/>
            <p:nvPr userDrawn="1"/>
          </p:nvSpPr>
          <p:spPr bwMode="gray">
            <a:xfrm>
              <a:off x="9227348" y="592781"/>
              <a:ext cx="1381061" cy="1381061"/>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A1A0F393-6517-E06B-9907-C58C26748CD0}"/>
                </a:ext>
              </a:extLst>
            </p:cNvPr>
            <p:cNvSpPr/>
            <p:nvPr userDrawn="1"/>
          </p:nvSpPr>
          <p:spPr bwMode="gray">
            <a:xfrm>
              <a:off x="3112344" y="592782"/>
              <a:ext cx="1381061" cy="1381061"/>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reeform: Shape 40">
              <a:extLst>
                <a:ext uri="{FF2B5EF4-FFF2-40B4-BE49-F238E27FC236}">
                  <a16:creationId xmlns:a16="http://schemas.microsoft.com/office/drawing/2014/main" id="{D6858B6D-2655-C36D-B14D-F569CE3262A2}"/>
                </a:ext>
              </a:extLst>
            </p:cNvPr>
            <p:cNvSpPr/>
            <p:nvPr userDrawn="1"/>
          </p:nvSpPr>
          <p:spPr bwMode="gray">
            <a:xfrm>
              <a:off x="6216592"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20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20" y="24225"/>
                  </a:cubicBezTo>
                  <a:close/>
                </a:path>
              </a:pathLst>
            </a:cu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Freeform: Shape 31">
              <a:extLst>
                <a:ext uri="{FF2B5EF4-FFF2-40B4-BE49-F238E27FC236}">
                  <a16:creationId xmlns:a16="http://schemas.microsoft.com/office/drawing/2014/main" id="{3A9E9836-C3C6-0546-359F-6C32FAD43B35}"/>
                </a:ext>
              </a:extLst>
            </p:cNvPr>
            <p:cNvSpPr/>
            <p:nvPr userDrawn="1"/>
          </p:nvSpPr>
          <p:spPr bwMode="gray">
            <a:xfrm>
              <a:off x="101588"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19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19" y="24225"/>
                  </a:cubicBezTo>
                  <a:close/>
                </a:path>
              </a:pathLst>
            </a:cu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7/2025</a:t>
            </a:fld>
            <a:endParaRPr lang="en-US"/>
          </a:p>
        </p:txBody>
      </p:sp>
    </p:spTree>
    <p:extLst>
      <p:ext uri="{BB962C8B-B14F-4D97-AF65-F5344CB8AC3E}">
        <p14:creationId xmlns:p14="http://schemas.microsoft.com/office/powerpoint/2010/main" val="28562526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5716">
          <p15:clr>
            <a:srgbClr val="FBAE40"/>
          </p15:clr>
        </p15:guide>
        <p15:guide id="3" orient="horz" pos="2733">
          <p15:clr>
            <a:srgbClr val="FBAE40"/>
          </p15:clr>
        </p15:guide>
        <p15:guide id="4" orient="horz" pos="290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
    <p:bg bwMode="gray">
      <p:bgPr>
        <a:solidFill>
          <a:schemeClr val="bg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95C5A8-FAFE-4EA7-1617-7FDC41A7C405}"/>
              </a:ext>
              <a:ext uri="{C183D7F6-B498-43B3-948B-1728B52AA6E4}">
                <adec:decorative xmlns:adec="http://schemas.microsoft.com/office/drawing/2017/decorative" val="1"/>
              </a:ext>
            </a:extLst>
          </p:cNvPr>
          <p:cNvCxnSpPr/>
          <p:nvPr userDrawn="1"/>
        </p:nvCxnSpPr>
        <p:spPr bwMode="gray">
          <a:xfrm>
            <a:off x="6096000" y="682647"/>
            <a:ext cx="0" cy="5492706"/>
          </a:xfrm>
          <a:prstGeom prst="line">
            <a:avLst/>
          </a:prstGeom>
          <a:ln w="381000" cap="rnd">
            <a:solidFill>
              <a:srgbClr val="7030A0"/>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6180087"/>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ver - Step">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57201" y="2318425"/>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57201" y="3891266"/>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57200" y="4998635"/>
            <a:ext cx="54864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2" name="Picture 21">
            <a:extLst>
              <a:ext uri="{FF2B5EF4-FFF2-40B4-BE49-F238E27FC236}">
                <a16:creationId xmlns:a16="http://schemas.microsoft.com/office/drawing/2014/main" id="{A818EC75-4789-C17B-2BE9-99476EB3DC2D}"/>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8260080" y="0"/>
            <a:ext cx="3931920" cy="6858000"/>
          </a:xfrm>
          <a:prstGeom prst="rect">
            <a:avLst/>
          </a:prstGeom>
        </p:spPr>
      </p:pic>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bwMode="gray"/>
        <p:txBody>
          <a:bodyPr/>
          <a:lstStyle/>
          <a:p>
            <a:fld id="{7F9D45FD-5E41-4099-8C3D-34BB181680CA}" type="datetime1">
              <a:rPr lang="en-US" smtClean="0"/>
              <a:t>3/27/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bwMode="gray"/>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bwMode="gray"/>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62055185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4898">
          <p15:clr>
            <a:srgbClr val="FBAE40"/>
          </p15:clr>
        </p15:guide>
        <p15:guide id="3" orient="horz" pos="2248">
          <p15:clr>
            <a:srgbClr val="FBAE40"/>
          </p15:clr>
        </p15:guide>
        <p15:guide id="4" orient="horz" pos="245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ection Header - Step">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469812" y="2277974"/>
            <a:ext cx="8604338" cy="1523494"/>
          </a:xfrm>
        </p:spPr>
        <p:txBody>
          <a:bodyPr anchor="b"/>
          <a:lstStyle>
            <a:lvl1pPr algn="l">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469812" y="4103837"/>
            <a:ext cx="8604338" cy="332399"/>
          </a:xfrm>
        </p:spPr>
        <p:txBody>
          <a:bodyPr wrap="square">
            <a:spAutoFit/>
          </a:bodyPr>
          <a:lstStyle>
            <a:lvl1pPr marL="0" indent="0" algn="l">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10" name="Rectangle 9">
            <a:extLst>
              <a:ext uri="{FF2B5EF4-FFF2-40B4-BE49-F238E27FC236}">
                <a16:creationId xmlns:a16="http://schemas.microsoft.com/office/drawing/2014/main" id="{0CA59961-09AB-EB4D-E367-75FA2172F2A3}"/>
              </a:ext>
              <a:ext uri="{C183D7F6-B498-43B3-948B-1728B52AA6E4}">
                <adec:decorative xmlns:adec="http://schemas.microsoft.com/office/drawing/2017/decorative" val="1"/>
              </a:ext>
            </a:extLst>
          </p:cNvPr>
          <p:cNvSpPr/>
          <p:nvPr userDrawn="1"/>
        </p:nvSpPr>
        <p:spPr bwMode="gray">
          <a:xfrm>
            <a:off x="0" y="5137150"/>
            <a:ext cx="12190730" cy="914400"/>
          </a:xfrm>
          <a:prstGeom prst="rect">
            <a:avLst/>
          </a:prstGeom>
          <a:solidFill>
            <a:schemeClr val="bg1"/>
          </a:solidFill>
          <a:ln cap="rnd">
            <a:noFill/>
            <a:round/>
          </a:ln>
          <a:effectLst>
            <a:outerShdw blurRad="152400" dist="88900" dir="5400000" algn="t" rotWithShape="0">
              <a:srgbClr val="EBE6E1">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7" name="Picture 6">
            <a:extLst>
              <a:ext uri="{FF2B5EF4-FFF2-40B4-BE49-F238E27FC236}">
                <a16:creationId xmlns:a16="http://schemas.microsoft.com/office/drawing/2014/main" id="{2AD17604-05E0-33BD-A562-4566C6028FE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b="11759"/>
          <a:stretch/>
        </p:blipFill>
        <p:spPr bwMode="gray">
          <a:xfrm>
            <a:off x="8260080" y="0"/>
            <a:ext cx="3931920" cy="6051550"/>
          </a:xfrm>
          <a:prstGeom prst="rect">
            <a:avLst/>
          </a:prstGeom>
        </p:spPr>
      </p:pic>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7/2025</a:t>
            </a:fld>
            <a:endParaRPr lang="en-US"/>
          </a:p>
        </p:txBody>
      </p:sp>
    </p:spTree>
    <p:extLst>
      <p:ext uri="{BB962C8B-B14F-4D97-AF65-F5344CB8AC3E}">
        <p14:creationId xmlns:p14="http://schemas.microsoft.com/office/powerpoint/2010/main" val="6745460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5716">
          <p15:clr>
            <a:srgbClr val="FBAE40"/>
          </p15:clr>
        </p15:guide>
        <p15:guide id="3" orient="horz" pos="2400">
          <p15:clr>
            <a:srgbClr val="FBAE40"/>
          </p15:clr>
        </p15:guide>
        <p15:guide id="4" orient="horz" pos="258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 Step 0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469812" y="2277974"/>
            <a:ext cx="8604338" cy="1523494"/>
          </a:xfrm>
        </p:spPr>
        <p:txBody>
          <a:bodyPr anchor="b"/>
          <a:lstStyle>
            <a:lvl1pPr algn="l">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469812" y="4103837"/>
            <a:ext cx="8604338" cy="332399"/>
          </a:xfrm>
        </p:spPr>
        <p:txBody>
          <a:bodyPr wrap="square">
            <a:spAutoFit/>
          </a:bodyPr>
          <a:lstStyle>
            <a:lvl1pPr marL="0" indent="0" algn="l">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10" name="Rectangle 9">
            <a:extLst>
              <a:ext uri="{FF2B5EF4-FFF2-40B4-BE49-F238E27FC236}">
                <a16:creationId xmlns:a16="http://schemas.microsoft.com/office/drawing/2014/main" id="{0CA59961-09AB-EB4D-E367-75FA2172F2A3}"/>
              </a:ext>
              <a:ext uri="{C183D7F6-B498-43B3-948B-1728B52AA6E4}">
                <adec:decorative xmlns:adec="http://schemas.microsoft.com/office/drawing/2017/decorative" val="1"/>
              </a:ext>
            </a:extLst>
          </p:cNvPr>
          <p:cNvSpPr/>
          <p:nvPr userDrawn="1"/>
        </p:nvSpPr>
        <p:spPr bwMode="gray">
          <a:xfrm>
            <a:off x="0" y="5137150"/>
            <a:ext cx="12190730" cy="914400"/>
          </a:xfrm>
          <a:prstGeom prst="rect">
            <a:avLst/>
          </a:prstGeom>
          <a:solidFill>
            <a:schemeClr val="bg1"/>
          </a:solidFill>
          <a:ln cap="rnd">
            <a:noFill/>
            <a:round/>
          </a:ln>
          <a:effectLst>
            <a:outerShdw blurRad="152400" dist="88900" dir="5400000" algn="t" rotWithShape="0">
              <a:srgbClr val="EBE6E1">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11" name="Picture 10">
            <a:extLst>
              <a:ext uri="{FF2B5EF4-FFF2-40B4-BE49-F238E27FC236}">
                <a16:creationId xmlns:a16="http://schemas.microsoft.com/office/drawing/2014/main" id="{7F130EE6-F73B-2227-1175-DB17997D67B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b="11759"/>
          <a:stretch/>
        </p:blipFill>
        <p:spPr bwMode="gray">
          <a:xfrm>
            <a:off x="10009632" y="0"/>
            <a:ext cx="2182368" cy="6051550"/>
          </a:xfrm>
          <a:prstGeom prst="rect">
            <a:avLst/>
          </a:prstGeom>
        </p:spPr>
      </p:pic>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7/2025</a:t>
            </a:fld>
            <a:endParaRPr lang="en-US"/>
          </a:p>
        </p:txBody>
      </p:sp>
    </p:spTree>
    <p:extLst>
      <p:ext uri="{BB962C8B-B14F-4D97-AF65-F5344CB8AC3E}">
        <p14:creationId xmlns:p14="http://schemas.microsoft.com/office/powerpoint/2010/main" val="6346032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5716">
          <p15:clr>
            <a:srgbClr val="FBAE40"/>
          </p15:clr>
        </p15:guide>
        <p15:guide id="3" orient="horz" pos="2400">
          <p15:clr>
            <a:srgbClr val="FBAE40"/>
          </p15:clr>
        </p15:guide>
        <p15:guide id="4" orient="horz" pos="258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 * ">
    <p:bg bwMode="gray">
      <p:bgRef idx="1001">
        <a:schemeClr val="bg1"/>
      </p:bgRef>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95C5A8-FAFE-4EA7-1617-7FDC41A7C405}"/>
              </a:ext>
              <a:ext uri="{C183D7F6-B498-43B3-948B-1728B52AA6E4}">
                <adec:decorative xmlns:adec="http://schemas.microsoft.com/office/drawing/2017/decorative" val="1"/>
              </a:ext>
            </a:extLst>
          </p:cNvPr>
          <p:cNvCxnSpPr/>
          <p:nvPr userDrawn="1"/>
        </p:nvCxnSpPr>
        <p:spPr bwMode="gray">
          <a:xfrm>
            <a:off x="6096000" y="682647"/>
            <a:ext cx="0" cy="5492706"/>
          </a:xfrm>
          <a:prstGeom prst="line">
            <a:avLst/>
          </a:prstGeom>
          <a:ln w="381000" cap="rnd">
            <a:solidFill>
              <a:srgbClr val="7030A0"/>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9280647"/>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ver - 3D Patter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838238A-74FD-1374-C746-5AD88BB2BC7D}"/>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57201" y="2444106"/>
            <a:ext cx="548640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57201" y="4622786"/>
            <a:ext cx="54864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57200" y="6184202"/>
            <a:ext cx="54864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bwMode="gray"/>
        <p:txBody>
          <a:bodyPr/>
          <a:lstStyle/>
          <a:p>
            <a:fld id="{7F9D45FD-5E41-4099-8C3D-34BB181680CA}" type="datetime1">
              <a:rPr lang="en-US" smtClean="0"/>
              <a:t>3/27/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bwMode="gray"/>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bwMode="gray"/>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1307523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746">
          <p15:clr>
            <a:srgbClr val="FBAE40"/>
          </p15:clr>
        </p15:guide>
        <p15:guide id="3" orient="horz" pos="2725">
          <p15:clr>
            <a:srgbClr val="FBAE40"/>
          </p15:clr>
        </p15:guide>
        <p15:guide id="4" orient="horz" pos="2912">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9" Type="http://schemas.openxmlformats.org/officeDocument/2006/relationships/oleObject" Target="../embeddings/oleObject2.bin"/><Relationship Id="rId21" Type="http://schemas.openxmlformats.org/officeDocument/2006/relationships/slideLayout" Target="../slideLayouts/slideLayout49.xml"/><Relationship Id="rId34" Type="http://schemas.openxmlformats.org/officeDocument/2006/relationships/slideLayout" Target="../slideLayouts/slideLayout62.xml"/><Relationship Id="rId42" Type="http://schemas.openxmlformats.org/officeDocument/2006/relationships/image" Target="../media/image3.svg"/><Relationship Id="rId7" Type="http://schemas.openxmlformats.org/officeDocument/2006/relationships/slideLayout" Target="../slideLayouts/slideLayout3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41" Type="http://schemas.openxmlformats.org/officeDocument/2006/relationships/image" Target="../media/image2.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theme" Target="../theme/theme2.xml"/><Relationship Id="rId40" Type="http://schemas.openxmlformats.org/officeDocument/2006/relationships/image" Target="../media/image1.emf"/><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8" Type="http://schemas.openxmlformats.org/officeDocument/2006/relationships/slideLayout" Target="../slideLayouts/slideLayout36.xml"/><Relationship Id="rId3" Type="http://schemas.openxmlformats.org/officeDocument/2006/relationships/slideLayout" Target="../slideLayouts/slideLayout31.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heme" Target="../theme/theme3.xml"/><Relationship Id="rId7" Type="http://schemas.openxmlformats.org/officeDocument/2006/relationships/image" Target="../media/image2.png"/><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9" Type="http://schemas.openxmlformats.org/officeDocument/2006/relationships/slideLayout" Target="../slideLayouts/slideLayout105.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42" Type="http://schemas.openxmlformats.org/officeDocument/2006/relationships/slideLayout" Target="../slideLayouts/slideLayout108.xml"/><Relationship Id="rId47" Type="http://schemas.openxmlformats.org/officeDocument/2006/relationships/image" Target="../media/image2.png"/><Relationship Id="rId7" Type="http://schemas.openxmlformats.org/officeDocument/2006/relationships/slideLayout" Target="../slideLayouts/slideLayout7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slideLayout" Target="../slideLayouts/slideLayout103.xml"/><Relationship Id="rId40" Type="http://schemas.openxmlformats.org/officeDocument/2006/relationships/slideLayout" Target="../slideLayouts/slideLayout106.xml"/><Relationship Id="rId45" Type="http://schemas.openxmlformats.org/officeDocument/2006/relationships/slideLayout" Target="../slideLayouts/slideLayout111.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4" Type="http://schemas.openxmlformats.org/officeDocument/2006/relationships/slideLayout" Target="../slideLayouts/slideLayout110.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43" Type="http://schemas.openxmlformats.org/officeDocument/2006/relationships/slideLayout" Target="../slideLayouts/slideLayout109.xml"/><Relationship Id="rId48" Type="http://schemas.openxmlformats.org/officeDocument/2006/relationships/image" Target="../media/image3.svg"/><Relationship Id="rId8" Type="http://schemas.openxmlformats.org/officeDocument/2006/relationships/slideLayout" Target="../slideLayouts/slideLayout74.xml"/><Relationship Id="rId3" Type="http://schemas.openxmlformats.org/officeDocument/2006/relationships/slideLayout" Target="../slideLayouts/slideLayout69.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38" Type="http://schemas.openxmlformats.org/officeDocument/2006/relationships/slideLayout" Target="../slideLayouts/slideLayout104.xml"/><Relationship Id="rId46" Type="http://schemas.openxmlformats.org/officeDocument/2006/relationships/theme" Target="../theme/theme4.xml"/><Relationship Id="rId20" Type="http://schemas.openxmlformats.org/officeDocument/2006/relationships/slideLayout" Target="../slideLayouts/slideLayout86.xml"/><Relationship Id="rId41" Type="http://schemas.openxmlformats.org/officeDocument/2006/relationships/slideLayout" Target="../slideLayouts/slideLayout10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slideLayout" Target="../slideLayouts/slideLayout137.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34" Type="http://schemas.openxmlformats.org/officeDocument/2006/relationships/image" Target="../media/image2.png"/><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33" Type="http://schemas.openxmlformats.org/officeDocument/2006/relationships/image" Target="../media/image1.emf"/><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29" Type="http://schemas.openxmlformats.org/officeDocument/2006/relationships/slideLayout" Target="../slideLayouts/slideLayout140.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32" Type="http://schemas.openxmlformats.org/officeDocument/2006/relationships/oleObject" Target="../embeddings/oleObject1.bin"/><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28" Type="http://schemas.openxmlformats.org/officeDocument/2006/relationships/slideLayout" Target="../slideLayouts/slideLayout139.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31" Type="http://schemas.openxmlformats.org/officeDocument/2006/relationships/tags" Target="../tags/tag4.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slideLayout" Target="../slideLayouts/slideLayout138.xml"/><Relationship Id="rId30" Type="http://schemas.openxmlformats.org/officeDocument/2006/relationships/theme" Target="../theme/theme5.xml"/><Relationship Id="rId35" Type="http://schemas.openxmlformats.org/officeDocument/2006/relationships/image" Target="../media/image3.svg"/><Relationship Id="rId8" Type="http://schemas.openxmlformats.org/officeDocument/2006/relationships/slideLayout" Target="../slideLayouts/slideLayout1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DC8F4D-A829-FF15-F4BB-310D547F867B}"/>
              </a:ext>
            </a:extLst>
          </p:cNvPr>
          <p:cNvGraphicFramePr>
            <a:graphicFrameLocks noChangeAspect="1"/>
          </p:cNvGraphicFramePr>
          <p:nvPr userDrawn="1">
            <p:custDataLst>
              <p:tags r:id="rId30"/>
            </p:custDataLst>
            <p:extLst>
              <p:ext uri="{D42A27DB-BD31-4B8C-83A1-F6EECF244321}">
                <p14:modId xmlns:p14="http://schemas.microsoft.com/office/powerpoint/2010/main" val="4273661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60" imgH="360" progId="TCLayout.ActiveDocument.1">
                  <p:embed/>
                </p:oleObj>
              </mc:Choice>
              <mc:Fallback>
                <p:oleObj name="think-cell Slide" r:id="rId31" imgW="360" imgH="360" progId="TCLayout.ActiveDocument.1">
                  <p:embed/>
                  <p:pic>
                    <p:nvPicPr>
                      <p:cNvPr id="8" name="think-cell data - do not delete" hidden="1">
                        <a:extLst>
                          <a:ext uri="{FF2B5EF4-FFF2-40B4-BE49-F238E27FC236}">
                            <a16:creationId xmlns:a16="http://schemas.microsoft.com/office/drawing/2014/main" id="{0EDC8F4D-A829-FF15-F4BB-310D547F867B}"/>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457199" y="1468197"/>
            <a:ext cx="10210801"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4"/>
            <a:r>
              <a:rPr lang="en-US"/>
              <a:t>Fourth level</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5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7/2025</a:t>
            </a:fld>
            <a:endParaRPr lang="en-US"/>
          </a:p>
        </p:txBody>
      </p:sp>
    </p:spTree>
    <p:extLst>
      <p:ext uri="{BB962C8B-B14F-4D97-AF65-F5344CB8AC3E}">
        <p14:creationId xmlns:p14="http://schemas.microsoft.com/office/powerpoint/2010/main" val="2023452570"/>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2pPr>
      <a:lvl3pPr marL="517525" indent="-285750" algn="l" defTabSz="914400" rtl="0" eaLnBrk="1" latinLnBrk="0" hangingPunct="1">
        <a:lnSpc>
          <a:spcPct val="100000"/>
        </a:lnSpc>
        <a:spcBef>
          <a:spcPts val="600"/>
        </a:spcBef>
        <a:buFont typeface="Courier New" panose="02070309020205020404" pitchFamily="49" charset="0"/>
        <a:buChar char="o"/>
        <a:defRPr sz="14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5BA8312-69BB-EB35-FE15-253258122583}"/>
              </a:ext>
            </a:extLst>
          </p:cNvPr>
          <p:cNvGraphicFramePr>
            <a:graphicFrameLocks noChangeAspect="1"/>
          </p:cNvGraphicFramePr>
          <p:nvPr userDrawn="1">
            <p:custDataLst>
              <p:tags r:id="rId38"/>
            </p:custDataLst>
            <p:extLst>
              <p:ext uri="{D42A27DB-BD31-4B8C-83A1-F6EECF244321}">
                <p14:modId xmlns:p14="http://schemas.microsoft.com/office/powerpoint/2010/main" val="1711617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60" imgH="360" progId="TCLayout.ActiveDocument.1">
                  <p:embed/>
                </p:oleObj>
              </mc:Choice>
              <mc:Fallback>
                <p:oleObj name="think-cell Slide" r:id="rId39" imgW="360" imgH="360" progId="TCLayout.ActiveDocument.1">
                  <p:embed/>
                  <p:pic>
                    <p:nvPicPr>
                      <p:cNvPr id="8" name="think-cell data - do not delete" hidden="1">
                        <a:extLst>
                          <a:ext uri="{FF2B5EF4-FFF2-40B4-BE49-F238E27FC236}">
                            <a16:creationId xmlns:a16="http://schemas.microsoft.com/office/drawing/2014/main" id="{05BA8312-69BB-EB35-FE15-253258122583}"/>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4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7/2025</a:t>
            </a:fld>
            <a:endParaRPr lang="en-US"/>
          </a:p>
        </p:txBody>
      </p:sp>
    </p:spTree>
    <p:extLst>
      <p:ext uri="{BB962C8B-B14F-4D97-AF65-F5344CB8AC3E}">
        <p14:creationId xmlns:p14="http://schemas.microsoft.com/office/powerpoint/2010/main" val="14737690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DC8F4D-A829-FF15-F4BB-310D547F867B}"/>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 name="think-cell data - do not delete" hidden="1">
                        <a:extLst>
                          <a:ext uri="{FF2B5EF4-FFF2-40B4-BE49-F238E27FC236}">
                            <a16:creationId xmlns:a16="http://schemas.microsoft.com/office/drawing/2014/main" id="{0EDC8F4D-A829-FF15-F4BB-310D547F86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4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7/2025</a:t>
            </a:fld>
            <a:endParaRPr lang="en-US"/>
          </a:p>
        </p:txBody>
      </p:sp>
    </p:spTree>
    <p:extLst>
      <p:ext uri="{BB962C8B-B14F-4D97-AF65-F5344CB8AC3E}">
        <p14:creationId xmlns:p14="http://schemas.microsoft.com/office/powerpoint/2010/main" val="2023452570"/>
      </p:ext>
    </p:extLst>
  </p:cSld>
  <p:clrMap bg1="lt1" tx1="dk1" bg2="lt2" tx2="dk2" accent1="accent1" accent2="accent2" accent3="accent3" accent4="accent4" accent5="accent5" accent6="accent6" hlink="hlink" folHlink="folHlink"/>
  <p:sldLayoutIdLst>
    <p:sldLayoutId id="2147483728" r:id="rId1"/>
    <p:sldLayoutId id="2147483727" r:id="rId2"/>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r>
              <a:rPr lang="en-US"/>
              <a:t>Sixth level</a:t>
            </a:r>
          </a:p>
          <a:p>
            <a:pPr lvl="4"/>
            <a:r>
              <a:rPr lang="en-US"/>
              <a:t>Seventh level</a:t>
            </a:r>
          </a:p>
          <a:p>
            <a:pPr lvl="4"/>
            <a:r>
              <a:rPr lang="en-US"/>
              <a:t>Eighth level</a:t>
            </a:r>
          </a:p>
          <a:p>
            <a:pPr lvl="4"/>
            <a:r>
              <a:rPr lang="en-US"/>
              <a:t>Nineth level</a:t>
            </a:r>
          </a:p>
        </p:txBody>
      </p:sp>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bwMode="gray">
          <a:xfrm>
            <a:off x="461961" y="6343650"/>
            <a:ext cx="773055" cy="223837"/>
          </a:xfrm>
          <a:prstGeom prst="rect">
            <a:avLst/>
          </a:prstGeom>
        </p:spPr>
      </p:pic>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5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7/2025</a:t>
            </a:fld>
            <a:endParaRPr lang="en-US"/>
          </a:p>
        </p:txBody>
      </p:sp>
    </p:spTree>
    <p:extLst>
      <p:ext uri="{BB962C8B-B14F-4D97-AF65-F5344CB8AC3E}">
        <p14:creationId xmlns:p14="http://schemas.microsoft.com/office/powerpoint/2010/main" val="1074293356"/>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 id="2147483765" r:id="rId23"/>
    <p:sldLayoutId id="2147483766" r:id="rId24"/>
    <p:sldLayoutId id="2147483767" r:id="rId25"/>
    <p:sldLayoutId id="2147483768" r:id="rId26"/>
    <p:sldLayoutId id="2147483769" r:id="rId27"/>
    <p:sldLayoutId id="2147483770" r:id="rId28"/>
    <p:sldLayoutId id="2147483771" r:id="rId29"/>
    <p:sldLayoutId id="2147483772" r:id="rId30"/>
    <p:sldLayoutId id="2147483773" r:id="rId31"/>
    <p:sldLayoutId id="2147483774" r:id="rId32"/>
    <p:sldLayoutId id="2147483775" r:id="rId33"/>
    <p:sldLayoutId id="2147483776" r:id="rId34"/>
    <p:sldLayoutId id="2147483777" r:id="rId35"/>
    <p:sldLayoutId id="2147483778" r:id="rId36"/>
    <p:sldLayoutId id="2147483779" r:id="rId37"/>
    <p:sldLayoutId id="2147483780" r:id="rId38"/>
    <p:sldLayoutId id="2147483781" r:id="rId39"/>
    <p:sldLayoutId id="2147483782" r:id="rId40"/>
    <p:sldLayoutId id="2147483783" r:id="rId41"/>
    <p:sldLayoutId id="2147483784" r:id="rId42"/>
    <p:sldLayoutId id="2147483785" r:id="rId43"/>
    <p:sldLayoutId id="2147483786" r:id="rId44"/>
    <p:sldLayoutId id="2147483787" r:id="rId45"/>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DC8F4D-A829-FF15-F4BB-310D547F867B}"/>
              </a:ext>
            </a:extLst>
          </p:cNvPr>
          <p:cNvGraphicFramePr>
            <a:graphicFrameLocks noChangeAspect="1"/>
          </p:cNvGraphicFramePr>
          <p:nvPr userDrawn="1">
            <p:custDataLst>
              <p:tags r:id="rId31"/>
            </p:custDataLst>
            <p:extLst>
              <p:ext uri="{D42A27DB-BD31-4B8C-83A1-F6EECF244321}">
                <p14:modId xmlns:p14="http://schemas.microsoft.com/office/powerpoint/2010/main" val="4273661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60" imgH="360" progId="TCLayout.ActiveDocument.1">
                  <p:embed/>
                </p:oleObj>
              </mc:Choice>
              <mc:Fallback>
                <p:oleObj name="think-cell Slide" r:id="rId32" imgW="360" imgH="360" progId="TCLayout.ActiveDocument.1">
                  <p:embed/>
                  <p:pic>
                    <p:nvPicPr>
                      <p:cNvPr id="8" name="think-cell data - do not delete" hidden="1">
                        <a:extLst>
                          <a:ext uri="{FF2B5EF4-FFF2-40B4-BE49-F238E27FC236}">
                            <a16:creationId xmlns:a16="http://schemas.microsoft.com/office/drawing/2014/main" id="{0EDC8F4D-A829-FF15-F4BB-310D547F867B}"/>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457199" y="1468197"/>
            <a:ext cx="10210801"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4"/>
            <a:r>
              <a:rPr lang="en-US"/>
              <a:t>Fourth level</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5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7/2025</a:t>
            </a:fld>
            <a:endParaRPr lang="en-US"/>
          </a:p>
        </p:txBody>
      </p:sp>
    </p:spTree>
    <p:extLst>
      <p:ext uri="{BB962C8B-B14F-4D97-AF65-F5344CB8AC3E}">
        <p14:creationId xmlns:p14="http://schemas.microsoft.com/office/powerpoint/2010/main" val="4046631677"/>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 id="2147483817" r:id="rId29"/>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2pPr>
      <a:lvl3pPr marL="517525" indent="-285750" algn="l" defTabSz="914400" rtl="0" eaLnBrk="1" latinLnBrk="0" hangingPunct="1">
        <a:lnSpc>
          <a:spcPct val="100000"/>
        </a:lnSpc>
        <a:spcBef>
          <a:spcPts val="600"/>
        </a:spcBef>
        <a:buFont typeface="Courier New" panose="02070309020205020404" pitchFamily="49" charset="0"/>
        <a:buChar char="o"/>
        <a:defRPr sz="14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8.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8BC017-416C-A4A6-DD1E-50EF2F0A1CEF}"/>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CBBF4A25-BC3F-CA9C-D6A3-17C3AA8C37EC}"/>
              </a:ext>
            </a:extLst>
          </p:cNvPr>
          <p:cNvSpPr/>
          <p:nvPr/>
        </p:nvSpPr>
        <p:spPr bwMode="gray">
          <a:xfrm>
            <a:off x="9341017" y="86727"/>
            <a:ext cx="2067425" cy="673769"/>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002677"/>
              </a:solidFill>
            </a:endParaRPr>
          </a:p>
        </p:txBody>
      </p:sp>
      <p:graphicFrame>
        <p:nvGraphicFramePr>
          <p:cNvPr id="6" name="think-cell data - do not delete" hidden="1">
            <a:extLst>
              <a:ext uri="{FF2B5EF4-FFF2-40B4-BE49-F238E27FC236}">
                <a16:creationId xmlns:a16="http://schemas.microsoft.com/office/drawing/2014/main" id="{84F19F57-7412-7B56-2A07-B978B224F5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think-cell data - do not delete" hidden="1">
                        <a:extLst>
                          <a:ext uri="{FF2B5EF4-FFF2-40B4-BE49-F238E27FC236}">
                            <a16:creationId xmlns:a16="http://schemas.microsoft.com/office/drawing/2014/main" id="{84F19F57-7412-7B56-2A07-B978B224F5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07D1D8-D575-A89A-42D2-F0053C0F7476}"/>
              </a:ext>
            </a:extLst>
          </p:cNvPr>
          <p:cNvSpPr>
            <a:spLocks noGrp="1"/>
          </p:cNvSpPr>
          <p:nvPr>
            <p:ph type="title"/>
          </p:nvPr>
        </p:nvSpPr>
        <p:spPr>
          <a:xfrm>
            <a:off x="387257" y="393668"/>
            <a:ext cx="9601200" cy="304699"/>
          </a:xfrm>
        </p:spPr>
        <p:txBody>
          <a:bodyPr vert="horz"/>
          <a:lstStyle/>
          <a:p>
            <a:r>
              <a:rPr lang="en-US"/>
              <a:t>Migration Analysis Report – </a:t>
            </a:r>
            <a:r>
              <a:rPr lang="en-US" err="1"/>
              <a:t>AGate</a:t>
            </a:r>
            <a:endParaRPr lang="en-US" err="1">
              <a:cs typeface="Arial"/>
            </a:endParaRPr>
          </a:p>
        </p:txBody>
      </p:sp>
      <p:sp>
        <p:nvSpPr>
          <p:cNvPr id="8" name="TextBox 7">
            <a:extLst>
              <a:ext uri="{FF2B5EF4-FFF2-40B4-BE49-F238E27FC236}">
                <a16:creationId xmlns:a16="http://schemas.microsoft.com/office/drawing/2014/main" id="{9F8D28FD-4DDA-C3E3-DBE8-55F485C9457E}"/>
              </a:ext>
            </a:extLst>
          </p:cNvPr>
          <p:cNvSpPr txBox="1"/>
          <p:nvPr/>
        </p:nvSpPr>
        <p:spPr bwMode="gray">
          <a:xfrm>
            <a:off x="376747" y="1460086"/>
            <a:ext cx="4471401" cy="340564"/>
          </a:xfrm>
          <a:prstGeom prst="rect">
            <a:avLst/>
          </a:prstGeom>
          <a:noFill/>
        </p:spPr>
        <p:txBody>
          <a:bodyPr wrap="square" lIns="0" tIns="0" rIns="0" bIns="0">
            <a:noAutofit/>
          </a:bodyPr>
          <a:lstStyle/>
          <a:p>
            <a:r>
              <a:rPr lang="en-US" sz="1200" b="1">
                <a:solidFill>
                  <a:srgbClr val="002677"/>
                </a:solidFill>
                <a:latin typeface="Arial"/>
                <a:cs typeface="Arial"/>
              </a:rPr>
              <a:t>Migration Observations and Gaps</a:t>
            </a:r>
          </a:p>
        </p:txBody>
      </p:sp>
      <p:graphicFrame>
        <p:nvGraphicFramePr>
          <p:cNvPr id="13" name="Table 12">
            <a:extLst>
              <a:ext uri="{FF2B5EF4-FFF2-40B4-BE49-F238E27FC236}">
                <a16:creationId xmlns:a16="http://schemas.microsoft.com/office/drawing/2014/main" id="{432C992B-1737-FF77-8E89-2D7F5E5BB4A3}"/>
              </a:ext>
            </a:extLst>
          </p:cNvPr>
          <p:cNvGraphicFramePr>
            <a:graphicFrameLocks noGrp="1"/>
          </p:cNvGraphicFramePr>
          <p:nvPr/>
        </p:nvGraphicFramePr>
        <p:xfrm>
          <a:off x="402390" y="1720265"/>
          <a:ext cx="4655459" cy="3410010"/>
        </p:xfrm>
        <a:graphic>
          <a:graphicData uri="http://schemas.openxmlformats.org/drawingml/2006/table">
            <a:tbl>
              <a:tblPr firstRow="1" bandRow="1">
                <a:tableStyleId>{5C22544A-7EE6-4342-B048-85BDC9FD1C3A}</a:tableStyleId>
              </a:tblPr>
              <a:tblGrid>
                <a:gridCol w="883478">
                  <a:extLst>
                    <a:ext uri="{9D8B030D-6E8A-4147-A177-3AD203B41FA5}">
                      <a16:colId xmlns:a16="http://schemas.microsoft.com/office/drawing/2014/main" val="2771237092"/>
                    </a:ext>
                  </a:extLst>
                </a:gridCol>
                <a:gridCol w="3771981">
                  <a:extLst>
                    <a:ext uri="{9D8B030D-6E8A-4147-A177-3AD203B41FA5}">
                      <a16:colId xmlns:a16="http://schemas.microsoft.com/office/drawing/2014/main" val="4256892532"/>
                    </a:ext>
                  </a:extLst>
                </a:gridCol>
              </a:tblGrid>
              <a:tr h="229249">
                <a:tc>
                  <a:txBody>
                    <a:bodyPr/>
                    <a:lstStyle/>
                    <a:p>
                      <a:r>
                        <a:rPr lang="en-US" sz="900">
                          <a:solidFill>
                            <a:srgbClr val="002677"/>
                          </a:solidFill>
                          <a:latin typeface="Arial"/>
                          <a:ea typeface="+mn-ea"/>
                          <a:cs typeface="Poppins"/>
                        </a:rPr>
                        <a:t>Type</a:t>
                      </a:r>
                    </a:p>
                  </a:txBody>
                  <a:tcPr marL="45720" marR="45720">
                    <a:lnL w="19050" cap="flat" cmpd="sng" algn="ctr">
                      <a:solidFill>
                        <a:schemeClr val="accent1"/>
                      </a:solidFill>
                      <a:prstDash val="solid"/>
                      <a:round/>
                      <a:headEnd type="none" w="med" len="med"/>
                      <a:tailEnd type="none" w="med" len="med"/>
                    </a:lnL>
                    <a:lnR w="12700">
                      <a:solidFill>
                        <a:schemeClr val="tx1"/>
                      </a:solidFill>
                    </a:lnR>
                    <a:lnT w="19050" cap="flat" cmpd="sng" algn="ctr">
                      <a:solidFill>
                        <a:schemeClr val="accent1"/>
                      </a:solidFill>
                      <a:prstDash val="solid"/>
                      <a:round/>
                      <a:headEnd type="none" w="med" len="med"/>
                      <a:tailEnd type="none" w="med" len="med"/>
                    </a:lnT>
                    <a:lnB w="12700" cmpd="sng">
                      <a:solidFill>
                        <a:schemeClr val="tx1"/>
                      </a:solidFill>
                    </a:lnB>
                    <a:solidFill>
                      <a:srgbClr val="D9F6FA"/>
                    </a:solidFill>
                  </a:tcPr>
                </a:tc>
                <a:tc>
                  <a:txBody>
                    <a:bodyPr/>
                    <a:lstStyle/>
                    <a:p>
                      <a:r>
                        <a:rPr lang="en-US" sz="900">
                          <a:solidFill>
                            <a:srgbClr val="002677"/>
                          </a:solidFill>
                          <a:latin typeface="Arial"/>
                          <a:ea typeface="+mn-ea"/>
                          <a:cs typeface="Poppins"/>
                        </a:rPr>
                        <a:t>Observation</a:t>
                      </a:r>
                    </a:p>
                  </a:txBody>
                  <a:tcPr>
                    <a:lnL w="12700">
                      <a:solidFill>
                        <a:schemeClr val="tx1"/>
                      </a:solidFill>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mpd="sng">
                      <a:solidFill>
                        <a:schemeClr val="tx1"/>
                      </a:solidFill>
                    </a:lnB>
                    <a:solidFill>
                      <a:srgbClr val="D9F6FA"/>
                    </a:solidFill>
                  </a:tcPr>
                </a:tc>
                <a:extLst>
                  <a:ext uri="{0D108BD9-81ED-4DB2-BD59-A6C34878D82A}">
                    <a16:rowId xmlns:a16="http://schemas.microsoft.com/office/drawing/2014/main" val="3756180390"/>
                  </a:ext>
                </a:extLst>
              </a:tr>
              <a:tr h="510264">
                <a:tc>
                  <a:txBody>
                    <a:bodyPr/>
                    <a:lstStyle/>
                    <a:p>
                      <a:pPr marL="0" algn="l" defTabSz="914400" rtl="0" eaLnBrk="1" latinLnBrk="0" hangingPunct="1"/>
                      <a:r>
                        <a:rPr lang="en-US" sz="900" b="1" kern="1200">
                          <a:solidFill>
                            <a:schemeClr val="tx1"/>
                          </a:solidFill>
                          <a:effectLst/>
                          <a:latin typeface="Arial"/>
                          <a:ea typeface="+mn-ea"/>
                          <a:cs typeface="Poppins"/>
                        </a:rPr>
                        <a:t>App Architecture</a:t>
                      </a:r>
                    </a:p>
                  </a:txBody>
                  <a:tcPr marL="45720" marR="45720">
                    <a:lnL w="19050" cap="flat" cmpd="sng" algn="ctr">
                      <a:solidFill>
                        <a:schemeClr val="accent1"/>
                      </a:solidFill>
                      <a:prstDash val="solid"/>
                      <a:round/>
                      <a:headEnd type="none" w="med" len="med"/>
                      <a:tailEnd type="none" w="med" len="med"/>
                    </a:lnL>
                    <a:lnR w="12700">
                      <a:solidFill>
                        <a:schemeClr val="tx1"/>
                      </a:solidFill>
                    </a:lnR>
                    <a:lnT w="12700" cmpd="sng">
                      <a:solidFill>
                        <a:schemeClr val="tx1"/>
                      </a:solid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a:lnSpc>
                          <a:spcPct val="100000"/>
                        </a:lnSpc>
                        <a:spcBef>
                          <a:spcPts val="0"/>
                        </a:spcBef>
                        <a:spcAft>
                          <a:spcPts val="0"/>
                        </a:spcAft>
                        <a:buClrTx/>
                        <a:buSzTx/>
                        <a:buFont typeface="Arial" panose="020B0604020202020204" pitchFamily="34" charset="0"/>
                        <a:buChar char="•"/>
                      </a:pPr>
                      <a:r>
                        <a:rPr lang="en-US" sz="900" kern="1200">
                          <a:solidFill>
                            <a:schemeClr val="dk1"/>
                          </a:solidFill>
                          <a:latin typeface="Arial"/>
                          <a:ea typeface="+mn-ea"/>
                          <a:cs typeface="Poppins"/>
                        </a:rPr>
                        <a:t>Agate UI runs in Kubernetes, with app servers running batch jobs connectivity to multiple databases including accumulator, BH Facets databases. Migrate UI to GKE in Phase I and Phase II covers App and DB Server migration to GCE and Cloud SQL respectively</a:t>
                      </a:r>
                    </a:p>
                  </a:txBody>
                  <a:tcPr>
                    <a:lnL w="12700">
                      <a:solidFill>
                        <a:schemeClr val="tx1"/>
                      </a:solidFill>
                    </a:lnL>
                    <a:lnR w="19050" cap="flat" cmpd="sng" algn="ctr">
                      <a:solidFill>
                        <a:schemeClr val="accent1"/>
                      </a:solidFill>
                      <a:prstDash val="solid"/>
                      <a:round/>
                      <a:headEnd type="none" w="med" len="med"/>
                      <a:tailEnd type="none" w="med" len="med"/>
                    </a:lnR>
                    <a:lnT w="12700" cmpd="sng">
                      <a:solidFill>
                        <a:schemeClr val="tx1"/>
                      </a:solid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2727751"/>
                  </a:ext>
                </a:extLst>
              </a:tr>
              <a:tr h="369757">
                <a:tc>
                  <a:txBody>
                    <a:bodyPr/>
                    <a:lstStyle/>
                    <a:p>
                      <a:pPr marL="0" lvl="0" algn="l" rtl="0">
                        <a:buNone/>
                      </a:pPr>
                      <a:r>
                        <a:rPr lang="en-US" sz="900" b="1" kern="1200">
                          <a:solidFill>
                            <a:schemeClr val="tx1"/>
                          </a:solidFill>
                          <a:effectLst/>
                          <a:latin typeface="Arial"/>
                          <a:ea typeface="+mn-ea"/>
                          <a:cs typeface="Poppins"/>
                        </a:rPr>
                        <a:t>Data Management</a:t>
                      </a:r>
                      <a:endParaRPr lang="en-US"/>
                    </a:p>
                  </a:txBody>
                  <a:tcPr marL="45720" marR="45720">
                    <a:lnL w="19050" cap="flat" cmpd="sng" algn="ctr">
                      <a:solidFill>
                        <a:schemeClr val="accent1"/>
                      </a:solidFill>
                      <a:prstDash val="solid"/>
                      <a:round/>
                      <a:headEnd type="none" w="med" len="med"/>
                      <a:tailEnd type="none" w="med" len="med"/>
                    </a:lnL>
                    <a:lnR w="12700">
                      <a:solidFill>
                        <a:schemeClr val="tx1"/>
                      </a:solid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a:lnSpc>
                          <a:spcPct val="100000"/>
                        </a:lnSpc>
                        <a:spcBef>
                          <a:spcPts val="0"/>
                        </a:spcBef>
                        <a:spcAft>
                          <a:spcPts val="0"/>
                        </a:spcAft>
                        <a:buClrTx/>
                        <a:buSzTx/>
                        <a:buFont typeface="Arial" panose="020B0604020202020204" pitchFamily="34" charset="0"/>
                        <a:buChar char="•"/>
                      </a:pPr>
                      <a:r>
                        <a:rPr lang="en-IN" sz="900" kern="1200">
                          <a:solidFill>
                            <a:schemeClr val="dk1"/>
                          </a:solidFill>
                          <a:latin typeface="Arial"/>
                          <a:ea typeface="+mn-ea"/>
                          <a:cs typeface="Poppins"/>
                        </a:rPr>
                        <a:t>Database migration is not part of Phase I migration, and needs to be migrated in Phase II.</a:t>
                      </a:r>
                    </a:p>
                  </a:txBody>
                  <a:tcPr>
                    <a:lnL w="12700">
                      <a:solidFill>
                        <a:schemeClr val="tx1"/>
                      </a:solidFill>
                    </a:lnL>
                    <a:lnR w="19050" cap="flat" cmpd="sng" algn="ctr">
                      <a:solidFill>
                        <a:schemeClr val="accent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5059236"/>
                  </a:ext>
                </a:extLst>
              </a:tr>
              <a:tr h="502122">
                <a:tc>
                  <a:txBody>
                    <a:bodyPr/>
                    <a:lstStyle/>
                    <a:p>
                      <a:r>
                        <a:rPr lang="en-US" sz="900" b="1" kern="1200">
                          <a:solidFill>
                            <a:schemeClr val="tx1"/>
                          </a:solidFill>
                          <a:effectLst/>
                          <a:latin typeface="Arial"/>
                          <a:ea typeface="+mn-ea"/>
                          <a:cs typeface="Poppins"/>
                        </a:rPr>
                        <a:t>Security &amp; Compliance</a:t>
                      </a:r>
                      <a:endParaRPr lang="en-US" sz="900">
                        <a:solidFill>
                          <a:schemeClr val="tx1"/>
                        </a:solidFill>
                        <a:latin typeface="Arial"/>
                        <a:ea typeface="+mn-ea"/>
                        <a:cs typeface="Poppins"/>
                      </a:endParaRPr>
                    </a:p>
                  </a:txBody>
                  <a:tcPr marL="45720" marR="45720">
                    <a:lnL w="190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a:solidFill>
                            <a:schemeClr val="tx1"/>
                          </a:solidFill>
                          <a:effectLst/>
                          <a:latin typeface="Arial"/>
                          <a:ea typeface="+mn-ea"/>
                          <a:cs typeface="Poppins"/>
                        </a:rPr>
                        <a:t>PHI and PII data are stored in the databas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a:solidFill>
                            <a:schemeClr val="tx1"/>
                          </a:solidFill>
                          <a:effectLst/>
                          <a:latin typeface="Arial"/>
                          <a:ea typeface="+mn-ea"/>
                          <a:cs typeface="Poppins"/>
                        </a:rPr>
                        <a:t>Follow all security best practices required for regulatory compliance – Network Security, Data Encryption, Access Control etc.</a:t>
                      </a:r>
                    </a:p>
                  </a:txBody>
                  <a:tcPr>
                    <a:lnL w="12700" cap="flat" cmpd="sng" algn="ctr">
                      <a:solidFill>
                        <a:schemeClr val="tx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7622950"/>
                  </a:ext>
                </a:extLst>
              </a:tr>
              <a:tr h="3697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Arial"/>
                          <a:ea typeface="+mn-ea"/>
                          <a:cs typeface="Poppins"/>
                        </a:rPr>
                        <a:t>Business Continuity</a:t>
                      </a:r>
                    </a:p>
                  </a:txBody>
                  <a:tcPr marL="45720" marR="45720">
                    <a:lnL w="190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a:lnSpc>
                          <a:spcPct val="100000"/>
                        </a:lnSpc>
                        <a:spcBef>
                          <a:spcPts val="0"/>
                        </a:spcBef>
                        <a:spcAft>
                          <a:spcPts val="0"/>
                        </a:spcAft>
                        <a:buFont typeface="Arial" panose="020B0604020202020204" pitchFamily="34" charset="0"/>
                        <a:buChar char="•"/>
                      </a:pPr>
                      <a:r>
                        <a:rPr lang="en-US" sz="900" b="0" i="0" u="none" strike="noStrike" noProof="0">
                          <a:solidFill>
                            <a:srgbClr val="4B4D4F"/>
                          </a:solidFill>
                          <a:latin typeface="Arial"/>
                          <a:ea typeface="+mn-ea"/>
                          <a:cs typeface="Poppins"/>
                        </a:rPr>
                        <a:t>This is Priority 2 application </a:t>
                      </a:r>
                      <a:r>
                        <a:rPr lang="en-US" sz="900" b="0" i="0" u="none" strike="noStrike" noProof="0" err="1">
                          <a:solidFill>
                            <a:srgbClr val="4B4D4F"/>
                          </a:solidFill>
                          <a:latin typeface="Arial"/>
                          <a:ea typeface="+mn-ea"/>
                          <a:cs typeface="Poppins"/>
                        </a:rPr>
                        <a:t>wth</a:t>
                      </a:r>
                      <a:r>
                        <a:rPr lang="en-US" sz="900" b="0" i="0" u="none" strike="noStrike" noProof="0">
                          <a:solidFill>
                            <a:srgbClr val="4B4D4F"/>
                          </a:solidFill>
                          <a:latin typeface="Arial"/>
                          <a:ea typeface="+mn-ea"/>
                          <a:cs typeface="Poppins"/>
                        </a:rPr>
                        <a:t> 3 hours RPO/RTO, GKE will be deployed with Zonal clustering and backups replicated cross region.</a:t>
                      </a:r>
                      <a:endParaRPr lang="en-US" sz="900">
                        <a:latin typeface="Arial"/>
                        <a:ea typeface="+mn-ea"/>
                        <a:cs typeface="Poppins"/>
                      </a:endParaRPr>
                    </a:p>
                  </a:txBody>
                  <a:tcPr>
                    <a:lnL w="12700" cap="flat" cmpd="sng" algn="ctr">
                      <a:solidFill>
                        <a:schemeClr val="tx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3367908"/>
                  </a:ext>
                </a:extLst>
              </a:tr>
              <a:tr h="6581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Arial"/>
                          <a:ea typeface="+mn-ea"/>
                          <a:cs typeface="Poppins"/>
                        </a:rPr>
                        <a:t>Cloud Readiness</a:t>
                      </a:r>
                    </a:p>
                  </a:txBody>
                  <a:tcPr marL="45720" marR="45720">
                    <a:lnL w="190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latin typeface="Arial"/>
                          <a:ea typeface="+mn-ea"/>
                          <a:cs typeface="Poppins"/>
                        </a:rPr>
                        <a:t>Target infrastructure architecture is completed.</a:t>
                      </a:r>
                    </a:p>
                    <a:p>
                      <a:pPr marL="171450" marR="0" lvl="0" indent="-171450" algn="l">
                        <a:lnSpc>
                          <a:spcPct val="100000"/>
                        </a:lnSpc>
                        <a:spcBef>
                          <a:spcPts val="0"/>
                        </a:spcBef>
                        <a:spcAft>
                          <a:spcPts val="0"/>
                        </a:spcAft>
                        <a:buClrTx/>
                        <a:buSzTx/>
                        <a:buFont typeface="Arial" panose="020B0604020202020204" pitchFamily="34" charset="0"/>
                        <a:buChar char="•"/>
                      </a:pPr>
                      <a:r>
                        <a:rPr lang="en-US" sz="900" kern="1200">
                          <a:solidFill>
                            <a:schemeClr val="tx1"/>
                          </a:solidFill>
                          <a:effectLst/>
                          <a:latin typeface="Arial"/>
                          <a:ea typeface="+mn-ea"/>
                          <a:cs typeface="Poppins"/>
                        </a:rPr>
                        <a:t>It is like to like migration for the UI part, from </a:t>
                      </a:r>
                      <a:r>
                        <a:rPr lang="en-US" sz="900" kern="1200" err="1">
                          <a:solidFill>
                            <a:schemeClr val="tx1"/>
                          </a:solidFill>
                          <a:effectLst/>
                          <a:latin typeface="Arial"/>
                          <a:ea typeface="+mn-ea"/>
                          <a:cs typeface="Poppins"/>
                        </a:rPr>
                        <a:t>onprem</a:t>
                      </a:r>
                      <a:r>
                        <a:rPr lang="en-US" sz="900" kern="1200">
                          <a:solidFill>
                            <a:schemeClr val="tx1"/>
                          </a:solidFill>
                          <a:effectLst/>
                          <a:latin typeface="Arial"/>
                          <a:ea typeface="+mn-ea"/>
                          <a:cs typeface="Poppins"/>
                        </a:rPr>
                        <a:t> </a:t>
                      </a:r>
                      <a:r>
                        <a:rPr lang="en-US" sz="900" kern="1200" err="1">
                          <a:solidFill>
                            <a:schemeClr val="tx1"/>
                          </a:solidFill>
                          <a:effectLst/>
                          <a:latin typeface="Arial"/>
                          <a:ea typeface="+mn-ea"/>
                          <a:cs typeface="Poppins"/>
                        </a:rPr>
                        <a:t>kubernetes</a:t>
                      </a:r>
                      <a:r>
                        <a:rPr lang="en-US" sz="900" kern="1200">
                          <a:solidFill>
                            <a:schemeClr val="tx1"/>
                          </a:solidFill>
                          <a:effectLst/>
                          <a:latin typeface="Arial"/>
                          <a:ea typeface="+mn-ea"/>
                          <a:cs typeface="Poppins"/>
                        </a:rPr>
                        <a:t> to GKE.</a:t>
                      </a:r>
                    </a:p>
                    <a:p>
                      <a:pPr marL="171450" marR="0" lvl="0" indent="-171450" algn="l">
                        <a:lnSpc>
                          <a:spcPct val="100000"/>
                        </a:lnSpc>
                        <a:spcBef>
                          <a:spcPts val="0"/>
                        </a:spcBef>
                        <a:spcAft>
                          <a:spcPts val="0"/>
                        </a:spcAft>
                        <a:buClrTx/>
                        <a:buSzTx/>
                        <a:buFont typeface="Arial" panose="020B0604020202020204" pitchFamily="34" charset="0"/>
                        <a:buChar char="•"/>
                      </a:pPr>
                      <a:r>
                        <a:rPr lang="en-US" sz="900" kern="1200">
                          <a:solidFill>
                            <a:schemeClr val="tx1"/>
                          </a:solidFill>
                          <a:effectLst/>
                          <a:latin typeface="Arial"/>
                          <a:ea typeface="+mn-ea"/>
                          <a:cs typeface="Poppins"/>
                        </a:rPr>
                        <a:t>Databases can be migrated to Cloud SQL and app servers to GCE</a:t>
                      </a:r>
                    </a:p>
                  </a:txBody>
                  <a:tcPr>
                    <a:lnL w="12700" cap="flat" cmpd="sng" algn="ctr">
                      <a:solidFill>
                        <a:schemeClr val="tx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9092872"/>
                  </a:ext>
                </a:extLst>
              </a:tr>
              <a:tr h="3697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Arial"/>
                          <a:ea typeface="+mn-ea"/>
                          <a:cs typeface="Poppins"/>
                        </a:rPr>
                        <a:t>Migration Process</a:t>
                      </a:r>
                    </a:p>
                  </a:txBody>
                  <a:tcPr marL="45720" marR="45720">
                    <a:lnL w="190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latin typeface="Arial"/>
                          <a:ea typeface="+mn-ea"/>
                          <a:cs typeface="Poppins"/>
                        </a:rPr>
                        <a:t>Migration process is yet to star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900">
                        <a:latin typeface="Arial"/>
                        <a:ea typeface="+mn-ea"/>
                        <a:cs typeface="Poppins"/>
                      </a:endParaRPr>
                    </a:p>
                  </a:txBody>
                  <a:tcPr>
                    <a:lnL w="12700" cap="flat" cmpd="sng" algn="ctr">
                      <a:solidFill>
                        <a:schemeClr val="tx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ap="flat" cmpd="sng" algn="ctr">
                      <a:solidFill>
                        <a:schemeClr val="tx1"/>
                      </a:solidFill>
                      <a:prstDash val="sysDot"/>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66144645"/>
                  </a:ext>
                </a:extLst>
              </a:tr>
            </a:tbl>
          </a:graphicData>
        </a:graphic>
      </p:graphicFrame>
      <p:sp>
        <p:nvSpPr>
          <p:cNvPr id="5" name="TextBox 4">
            <a:extLst>
              <a:ext uri="{FF2B5EF4-FFF2-40B4-BE49-F238E27FC236}">
                <a16:creationId xmlns:a16="http://schemas.microsoft.com/office/drawing/2014/main" id="{33284C61-86B5-AC5F-0584-365FEFB5B708}"/>
              </a:ext>
            </a:extLst>
          </p:cNvPr>
          <p:cNvSpPr txBox="1"/>
          <p:nvPr/>
        </p:nvSpPr>
        <p:spPr bwMode="gray">
          <a:xfrm>
            <a:off x="5186484" y="1721969"/>
            <a:ext cx="2896952" cy="3418794"/>
          </a:xfrm>
          <a:prstGeom prst="rect">
            <a:avLst/>
          </a:prstGeom>
          <a:solidFill>
            <a:schemeClr val="bg1"/>
          </a:solidFill>
          <a:ln w="19050">
            <a:solidFill>
              <a:schemeClr val="tx1"/>
            </a:solidFill>
          </a:ln>
        </p:spPr>
        <p:txBody>
          <a:bodyPr wrap="square" lIns="91440" tIns="45720" rIns="91440" bIns="45720" anchor="t">
            <a:noAutofit/>
          </a:bodyPr>
          <a:lstStyle/>
          <a:p>
            <a:pPr marL="171450" indent="-171450">
              <a:buFont typeface="Arial"/>
              <a:buChar char="•"/>
            </a:pPr>
            <a:r>
              <a:rPr lang="en-US" sz="900">
                <a:cs typeface="Arial"/>
              </a:rPr>
              <a:t>Migrate to the existing GCP </a:t>
            </a:r>
            <a:r>
              <a:rPr lang="en-US" sz="900" err="1">
                <a:cs typeface="Arial"/>
              </a:rPr>
              <a:t>envronments</a:t>
            </a:r>
            <a:r>
              <a:rPr lang="en-US" sz="900">
                <a:cs typeface="Arial"/>
              </a:rPr>
              <a:t> where other BH applications are running</a:t>
            </a:r>
          </a:p>
          <a:p>
            <a:pPr marL="171450" indent="-171450">
              <a:buFont typeface="Arial"/>
              <a:buChar char="•"/>
            </a:pPr>
            <a:r>
              <a:rPr lang="en-US" sz="900">
                <a:latin typeface="Arial"/>
                <a:cs typeface="Arial"/>
              </a:rPr>
              <a:t>Can be migrated to the GKE </a:t>
            </a:r>
            <a:r>
              <a:rPr lang="en-US" sz="900" err="1">
                <a:latin typeface="Arial"/>
                <a:cs typeface="Arial"/>
              </a:rPr>
              <a:t>clusster</a:t>
            </a:r>
            <a:r>
              <a:rPr lang="en-US" sz="900">
                <a:latin typeface="Arial"/>
                <a:cs typeface="Arial"/>
              </a:rPr>
              <a:t> managed already or build a new GKE cluster for Agate hosting. The GCP project should already have connectivity back to </a:t>
            </a:r>
            <a:r>
              <a:rPr lang="en-US" sz="900" err="1">
                <a:latin typeface="Arial"/>
                <a:cs typeface="Arial"/>
              </a:rPr>
              <a:t>onprem</a:t>
            </a:r>
            <a:endParaRPr lang="en-US" sz="900">
              <a:latin typeface="Arial"/>
              <a:cs typeface="Arial"/>
            </a:endParaRPr>
          </a:p>
          <a:p>
            <a:pPr marL="171450" indent="-171450">
              <a:buFont typeface="Arial"/>
              <a:buChar char="•"/>
            </a:pPr>
            <a:r>
              <a:rPr lang="en-US" sz="900">
                <a:latin typeface="Arial"/>
                <a:cs typeface="Arial"/>
              </a:rPr>
              <a:t>Running UI in the cloud and app/</a:t>
            </a:r>
            <a:r>
              <a:rPr lang="en-US" sz="900" err="1">
                <a:latin typeface="Arial"/>
                <a:cs typeface="Arial"/>
              </a:rPr>
              <a:t>db</a:t>
            </a:r>
            <a:r>
              <a:rPr lang="en-US" sz="900">
                <a:latin typeface="Arial"/>
                <a:cs typeface="Arial"/>
              </a:rPr>
              <a:t> </a:t>
            </a:r>
            <a:r>
              <a:rPr lang="en-US" sz="900" err="1">
                <a:latin typeface="Arial"/>
                <a:cs typeface="Arial"/>
              </a:rPr>
              <a:t>onprem</a:t>
            </a:r>
            <a:r>
              <a:rPr lang="en-US" sz="900">
                <a:latin typeface="Arial"/>
                <a:cs typeface="Arial"/>
              </a:rPr>
              <a:t> might cause latency issues, </a:t>
            </a:r>
            <a:r>
              <a:rPr lang="en-US" sz="900" err="1">
                <a:latin typeface="Arial"/>
                <a:cs typeface="Arial"/>
              </a:rPr>
              <a:t>inlcude</a:t>
            </a:r>
            <a:r>
              <a:rPr lang="en-US" sz="900">
                <a:latin typeface="Arial"/>
                <a:cs typeface="Arial"/>
              </a:rPr>
              <a:t> performance testing in the migration plan</a:t>
            </a:r>
          </a:p>
          <a:p>
            <a:pPr marL="171450" indent="-171450">
              <a:buFont typeface="Arial,Sans-Serif"/>
              <a:buChar char="•"/>
            </a:pPr>
            <a:r>
              <a:rPr lang="en-US" sz="900">
                <a:latin typeface="Arial"/>
                <a:cs typeface="Arial"/>
              </a:rPr>
              <a:t>Adjust targeted state design if needed during exercising low-level design and migration readiness by the migration team.</a:t>
            </a:r>
          </a:p>
          <a:p>
            <a:pPr marL="171450" indent="-171450">
              <a:buFont typeface="Arial,Sans-Serif"/>
              <a:buChar char="•"/>
            </a:pPr>
            <a:r>
              <a:rPr lang="en-US" sz="900">
                <a:latin typeface="Arial"/>
                <a:cs typeface="Arial"/>
              </a:rPr>
              <a:t>If any performance issues identified during performance testing plan to migrate app/</a:t>
            </a:r>
            <a:r>
              <a:rPr lang="en-US" sz="900" err="1">
                <a:latin typeface="Arial"/>
                <a:cs typeface="Arial"/>
              </a:rPr>
              <a:t>db</a:t>
            </a:r>
            <a:r>
              <a:rPr lang="en-US" sz="900">
                <a:latin typeface="Arial"/>
                <a:cs typeface="Arial"/>
              </a:rPr>
              <a:t> along with UI application.</a:t>
            </a:r>
          </a:p>
          <a:p>
            <a:pPr marL="171450" indent="-171450">
              <a:buFont typeface="Arial,Sans-Serif"/>
              <a:buChar char="•"/>
            </a:pPr>
            <a:r>
              <a:rPr lang="en-US" sz="900">
                <a:latin typeface="Arial"/>
                <a:cs typeface="Arial"/>
              </a:rPr>
              <a:t>Ensure to </a:t>
            </a:r>
            <a:r>
              <a:rPr lang="en-US" sz="900" err="1">
                <a:latin typeface="Arial"/>
                <a:cs typeface="Arial"/>
              </a:rPr>
              <a:t>tbe</a:t>
            </a:r>
            <a:r>
              <a:rPr lang="en-US" sz="900">
                <a:latin typeface="Arial"/>
                <a:cs typeface="Arial"/>
              </a:rPr>
              <a:t> in the same region as BH Facets application to avoid any latency issues</a:t>
            </a:r>
          </a:p>
          <a:p>
            <a:pPr marL="171450" indent="-171450">
              <a:buFont typeface="Arial,Sans-Serif"/>
              <a:buChar char="•"/>
            </a:pPr>
            <a:r>
              <a:rPr lang="en-US" sz="900">
                <a:latin typeface="Arial"/>
                <a:cs typeface="Arial"/>
              </a:rPr>
              <a:t>Ensure data is encrypted both in transit and rest and follow policy defined by EIS.</a:t>
            </a:r>
          </a:p>
          <a:p>
            <a:pPr marL="171450" indent="-171450">
              <a:buFont typeface="Arial,Sans-Serif"/>
              <a:buChar char="•"/>
            </a:pPr>
            <a:r>
              <a:rPr lang="en-US" sz="900">
                <a:latin typeface="Arial"/>
                <a:cs typeface="Arial"/>
              </a:rPr>
              <a:t>Align with other controls established in the GCP account/project.</a:t>
            </a:r>
          </a:p>
          <a:p>
            <a:pPr marL="171450" indent="-171450">
              <a:buFont typeface="Arial"/>
              <a:buChar char="•"/>
            </a:pPr>
            <a:endParaRPr lang="en-US" sz="900">
              <a:latin typeface="Arial"/>
              <a:cs typeface="Arial"/>
            </a:endParaRPr>
          </a:p>
          <a:p>
            <a:pPr marL="171450" indent="-171450">
              <a:buFont typeface="Arial"/>
              <a:buChar char="•"/>
            </a:pPr>
            <a:endParaRPr lang="en-US" sz="900">
              <a:latin typeface="Arial"/>
              <a:cs typeface="Arial"/>
            </a:endParaRPr>
          </a:p>
          <a:p>
            <a:pPr marL="172720" indent="-172720">
              <a:buFont typeface="Arial" panose="020B0604020202020204" pitchFamily="34" charset="0"/>
              <a:buChar char="•"/>
            </a:pPr>
            <a:endParaRPr lang="en-US" sz="900">
              <a:latin typeface="Arial"/>
              <a:cs typeface="Arial"/>
            </a:endParaRPr>
          </a:p>
        </p:txBody>
      </p:sp>
      <p:sp>
        <p:nvSpPr>
          <p:cNvPr id="9" name="TextBox 8">
            <a:extLst>
              <a:ext uri="{FF2B5EF4-FFF2-40B4-BE49-F238E27FC236}">
                <a16:creationId xmlns:a16="http://schemas.microsoft.com/office/drawing/2014/main" id="{8D4177CB-4052-90C3-44C8-F082E05F2549}"/>
              </a:ext>
            </a:extLst>
          </p:cNvPr>
          <p:cNvSpPr txBox="1"/>
          <p:nvPr/>
        </p:nvSpPr>
        <p:spPr bwMode="gray">
          <a:xfrm>
            <a:off x="8187593" y="1725651"/>
            <a:ext cx="3600842" cy="641524"/>
          </a:xfrm>
          <a:prstGeom prst="rect">
            <a:avLst/>
          </a:prstGeom>
          <a:solidFill>
            <a:schemeClr val="bg1"/>
          </a:solidFill>
          <a:ln w="19050">
            <a:solidFill>
              <a:schemeClr val="tx1"/>
            </a:solidFill>
          </a:ln>
        </p:spPr>
        <p:txBody>
          <a:bodyPr wrap="square" lIns="91440" tIns="45720" rIns="91440" bIns="45720" anchor="t">
            <a:noAutofit/>
          </a:bodyPr>
          <a:lstStyle>
            <a:defPPr>
              <a:defRPr lang="en-US"/>
            </a:defPPr>
            <a:lvl1pPr>
              <a:lnSpc>
                <a:spcPct val="150000"/>
              </a:lnSpc>
              <a:defRPr sz="1100" b="1">
                <a:solidFill>
                  <a:srgbClr val="FF8960"/>
                </a:solidFill>
              </a:defRPr>
            </a:lvl1pPr>
          </a:lstStyle>
          <a:p>
            <a:pPr>
              <a:lnSpc>
                <a:spcPct val="100000"/>
              </a:lnSpc>
            </a:pPr>
            <a:r>
              <a:rPr lang="en-US" sz="900" b="0">
                <a:solidFill>
                  <a:schemeClr val="tx1"/>
                </a:solidFill>
                <a:latin typeface="Arial"/>
                <a:cs typeface="Poppins"/>
              </a:rPr>
              <a:t>Connectivity latency back to  </a:t>
            </a:r>
            <a:r>
              <a:rPr lang="en-US" sz="900" b="0" err="1">
                <a:solidFill>
                  <a:schemeClr val="tx1"/>
                </a:solidFill>
                <a:latin typeface="Arial"/>
                <a:cs typeface="Poppins"/>
              </a:rPr>
              <a:t>Onprem</a:t>
            </a:r>
            <a:r>
              <a:rPr lang="en-US" sz="900" b="0">
                <a:solidFill>
                  <a:schemeClr val="tx1"/>
                </a:solidFill>
                <a:latin typeface="Arial"/>
                <a:cs typeface="Poppins"/>
              </a:rPr>
              <a:t> during phase I and connectivity to BH Facets application during Phase II migration. BH Facets is planned to be migrated to Azure, has a dependency on Azure -&gt; GCP connectivity during Phase II.</a:t>
            </a:r>
            <a:endParaRPr lang="en-US" sz="900" b="0">
              <a:solidFill>
                <a:schemeClr val="tx1"/>
              </a:solidFill>
              <a:cs typeface="Poppins"/>
            </a:endParaRPr>
          </a:p>
        </p:txBody>
      </p:sp>
      <p:sp>
        <p:nvSpPr>
          <p:cNvPr id="17" name="Rectangle 16">
            <a:extLst>
              <a:ext uri="{FF2B5EF4-FFF2-40B4-BE49-F238E27FC236}">
                <a16:creationId xmlns:a16="http://schemas.microsoft.com/office/drawing/2014/main" id="{ED0315FA-C515-1C8C-B9FD-915AD3CC1D12}"/>
              </a:ext>
            </a:extLst>
          </p:cNvPr>
          <p:cNvSpPr/>
          <p:nvPr/>
        </p:nvSpPr>
        <p:spPr bwMode="gray">
          <a:xfrm>
            <a:off x="376747" y="760496"/>
            <a:ext cx="7705928" cy="689210"/>
          </a:xfrm>
          <a:prstGeom prst="rect">
            <a:avLst/>
          </a:prstGeom>
          <a:solidFill>
            <a:srgbClr val="F5F5F5"/>
          </a:solidFill>
          <a:ln cap="rnd">
            <a:solidFill>
              <a:schemeClr val="accent3">
                <a:lumMod val="40000"/>
                <a:lumOff val="6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a:solidFill>
                  <a:srgbClr val="333333"/>
                </a:solidFill>
                <a:latin typeface="Calibri"/>
                <a:ea typeface="Calibri"/>
                <a:cs typeface="Calibri"/>
              </a:rPr>
              <a:t>Agate facilitates exchange of Accumulator data between external clients and Claims Systems</a:t>
            </a:r>
            <a:r>
              <a:rPr lang="en-US" sz="1100" i="0" u="none" baseline="0">
                <a:solidFill>
                  <a:srgbClr val="333333"/>
                </a:solidFill>
                <a:latin typeface="Calibri"/>
                <a:ea typeface="Calibri"/>
                <a:cs typeface="Calibri"/>
              </a:rPr>
              <a:t>. </a:t>
            </a:r>
            <a:r>
              <a:rPr lang="en-US" sz="1100">
                <a:solidFill>
                  <a:srgbClr val="333333"/>
                </a:solidFill>
                <a:latin typeface="Calibri"/>
                <a:ea typeface="Calibri"/>
                <a:cs typeface="Calibri"/>
              </a:rPr>
              <a:t>Utility application that facilitates exchange </a:t>
            </a:r>
            <a:r>
              <a:rPr lang="en-US" sz="1100" i="0" u="none" baseline="0">
                <a:solidFill>
                  <a:srgbClr val="333333"/>
                </a:solidFill>
                <a:latin typeface="Calibri"/>
                <a:ea typeface="Calibri"/>
                <a:cs typeface="Calibri"/>
              </a:rPr>
              <a:t>of </a:t>
            </a:r>
            <a:r>
              <a:rPr lang="en-US" sz="1100">
                <a:solidFill>
                  <a:srgbClr val="333333"/>
                </a:solidFill>
                <a:latin typeface="Calibri"/>
                <a:ea typeface="Calibri"/>
                <a:cs typeface="Calibri"/>
              </a:rPr>
              <a:t>Accumulator data between external clients </a:t>
            </a:r>
            <a:r>
              <a:rPr lang="en-US" sz="1100" i="0" u="none" baseline="0">
                <a:solidFill>
                  <a:srgbClr val="333333"/>
                </a:solidFill>
                <a:latin typeface="Calibri"/>
                <a:ea typeface="Calibri"/>
                <a:cs typeface="Calibri"/>
              </a:rPr>
              <a:t>and </a:t>
            </a:r>
            <a:r>
              <a:rPr lang="en-US" sz="1100">
                <a:solidFill>
                  <a:srgbClr val="333333"/>
                </a:solidFill>
                <a:latin typeface="Calibri"/>
                <a:ea typeface="Calibri"/>
                <a:cs typeface="Calibri"/>
              </a:rPr>
              <a:t>Claims system. It is built on HCC Kubernetes on-prem and has infrastructure with MySQL DB and App servers running batch jobs.</a:t>
            </a:r>
            <a:endParaRPr lang="en-US" sz="1100" err="1">
              <a:solidFill>
                <a:srgbClr val="000000"/>
              </a:solidFill>
              <a:latin typeface="Calibri"/>
              <a:ea typeface="Calibri"/>
              <a:cs typeface="Calibri"/>
            </a:endParaRPr>
          </a:p>
          <a:p>
            <a:pPr>
              <a:lnSpc>
                <a:spcPct val="100000"/>
              </a:lnSpc>
              <a:spcBef>
                <a:spcPts val="600"/>
              </a:spcBef>
              <a:spcAft>
                <a:spcPts val="0"/>
              </a:spcAft>
            </a:pPr>
            <a:r>
              <a:rPr lang="en-US" sz="1000" i="0" u="none" baseline="0">
                <a:solidFill>
                  <a:schemeClr val="tx1"/>
                </a:solidFill>
                <a:latin typeface="Arial"/>
                <a:cs typeface="Arial"/>
              </a:rPr>
              <a:t>. </a:t>
            </a:r>
            <a:endParaRPr lang="en-US">
              <a:solidFill>
                <a:schemeClr val="tx1"/>
              </a:solidFill>
            </a:endParaRPr>
          </a:p>
        </p:txBody>
      </p:sp>
      <p:sp>
        <p:nvSpPr>
          <p:cNvPr id="19" name="Rectangle 18">
            <a:extLst>
              <a:ext uri="{FF2B5EF4-FFF2-40B4-BE49-F238E27FC236}">
                <a16:creationId xmlns:a16="http://schemas.microsoft.com/office/drawing/2014/main" id="{F60E79CD-5AD0-FA17-A783-E6D473899262}"/>
              </a:ext>
            </a:extLst>
          </p:cNvPr>
          <p:cNvSpPr/>
          <p:nvPr/>
        </p:nvSpPr>
        <p:spPr bwMode="gray">
          <a:xfrm>
            <a:off x="8170303" y="835486"/>
            <a:ext cx="3614451" cy="523941"/>
          </a:xfrm>
          <a:prstGeom prst="rect">
            <a:avLst/>
          </a:prstGeom>
          <a:solidFill>
            <a:srgbClr val="F5F5F5"/>
          </a:solidFill>
          <a:ln cap="rnd">
            <a:solidFill>
              <a:schemeClr val="accent3">
                <a:lumMod val="40000"/>
                <a:lumOff val="6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pPr>
            <a:r>
              <a:rPr lang="en-US" sz="1000" b="1">
                <a:solidFill>
                  <a:schemeClr val="tx1"/>
                </a:solidFill>
              </a:rPr>
              <a:t>Timelines:</a:t>
            </a:r>
            <a:r>
              <a:rPr lang="en-US" sz="1000">
                <a:solidFill>
                  <a:schemeClr val="tx1"/>
                </a:solidFill>
              </a:rPr>
              <a:t> Start: March 2025 | End; July 2025 </a:t>
            </a:r>
            <a:endParaRPr lang="en-US" sz="1000" b="0" i="0" u="none" baseline="0">
              <a:solidFill>
                <a:schemeClr val="tx1"/>
              </a:solidFill>
              <a:latin typeface="Arial"/>
              <a:cs typeface="Poppins" pitchFamily="2" charset="77"/>
            </a:endParaRPr>
          </a:p>
        </p:txBody>
      </p:sp>
      <p:sp>
        <p:nvSpPr>
          <p:cNvPr id="10" name="TextBox 9">
            <a:extLst>
              <a:ext uri="{FF2B5EF4-FFF2-40B4-BE49-F238E27FC236}">
                <a16:creationId xmlns:a16="http://schemas.microsoft.com/office/drawing/2014/main" id="{7E0A87B9-E8AE-26F6-9CBB-0B3E8D67DA93}"/>
              </a:ext>
            </a:extLst>
          </p:cNvPr>
          <p:cNvSpPr txBox="1"/>
          <p:nvPr/>
        </p:nvSpPr>
        <p:spPr bwMode="gray">
          <a:xfrm>
            <a:off x="5183496" y="1482227"/>
            <a:ext cx="3537057" cy="340564"/>
          </a:xfrm>
          <a:prstGeom prst="rect">
            <a:avLst/>
          </a:prstGeom>
          <a:noFill/>
        </p:spPr>
        <p:txBody>
          <a:bodyPr wrap="square" lIns="0" tIns="0" rIns="0" bIns="0">
            <a:noAutofit/>
          </a:bodyPr>
          <a:lstStyle/>
          <a:p>
            <a:r>
              <a:rPr lang="en-US" sz="1200" b="1">
                <a:solidFill>
                  <a:srgbClr val="002677"/>
                </a:solidFill>
                <a:latin typeface="Arial"/>
                <a:cs typeface="Arial"/>
              </a:rPr>
              <a:t>Recommendations</a:t>
            </a:r>
          </a:p>
        </p:txBody>
      </p:sp>
      <p:sp>
        <p:nvSpPr>
          <p:cNvPr id="28" name="TextBox 27">
            <a:extLst>
              <a:ext uri="{FF2B5EF4-FFF2-40B4-BE49-F238E27FC236}">
                <a16:creationId xmlns:a16="http://schemas.microsoft.com/office/drawing/2014/main" id="{FA1BE4F5-FB5A-B989-873F-71CFF905E5C0}"/>
              </a:ext>
            </a:extLst>
          </p:cNvPr>
          <p:cNvSpPr txBox="1"/>
          <p:nvPr/>
        </p:nvSpPr>
        <p:spPr bwMode="gray">
          <a:xfrm>
            <a:off x="8169188" y="1468892"/>
            <a:ext cx="2731300" cy="340564"/>
          </a:xfrm>
          <a:prstGeom prst="rect">
            <a:avLst/>
          </a:prstGeom>
          <a:noFill/>
        </p:spPr>
        <p:txBody>
          <a:bodyPr wrap="square" lIns="0" tIns="0" rIns="0" bIns="0" anchor="t">
            <a:noAutofit/>
          </a:bodyPr>
          <a:lstStyle/>
          <a:p>
            <a:r>
              <a:rPr lang="en-US" sz="1200" b="1">
                <a:solidFill>
                  <a:srgbClr val="002677"/>
                </a:solidFill>
                <a:latin typeface="Arial"/>
                <a:cs typeface="Arial"/>
              </a:rPr>
              <a:t>Risks</a:t>
            </a:r>
          </a:p>
        </p:txBody>
      </p:sp>
      <p:sp>
        <p:nvSpPr>
          <p:cNvPr id="12" name="Rectangle 11">
            <a:extLst>
              <a:ext uri="{FF2B5EF4-FFF2-40B4-BE49-F238E27FC236}">
                <a16:creationId xmlns:a16="http://schemas.microsoft.com/office/drawing/2014/main" id="{A3A280AD-99ED-2A87-A86E-936F18EB68B7}"/>
              </a:ext>
            </a:extLst>
          </p:cNvPr>
          <p:cNvSpPr/>
          <p:nvPr/>
        </p:nvSpPr>
        <p:spPr bwMode="gray">
          <a:xfrm>
            <a:off x="8197622" y="2734705"/>
            <a:ext cx="3591988" cy="695555"/>
          </a:xfrm>
          <a:prstGeom prst="rect">
            <a:avLst/>
          </a:prstGeom>
          <a:solidFill>
            <a:schemeClr val="bg1"/>
          </a:solidFill>
          <a:ln w="19050">
            <a:solidFill>
              <a:schemeClr val="tx1"/>
            </a:solidFill>
          </a:ln>
        </p:spPr>
        <p:txBody>
          <a:bodyPr wrap="square" lIns="91440" tIns="45720" rIns="91440" bIns="45720" anchor="t">
            <a:noAutofit/>
          </a:bodyPr>
          <a:lstStyle/>
          <a:p>
            <a:pPr>
              <a:lnSpc>
                <a:spcPct val="150000"/>
              </a:lnSpc>
              <a:spcBef>
                <a:spcPts val="600"/>
              </a:spcBef>
            </a:pPr>
            <a:r>
              <a:rPr lang="en-US" sz="900">
                <a:latin typeface="Arial"/>
                <a:cs typeface="Poppins"/>
              </a:rPr>
              <a:t>GCP/Hybrid Cloud,  Kubernetes, MySQL, RedHat Linux 8, RedHat Linux 9, </a:t>
            </a:r>
            <a:r>
              <a:rPr lang="en-US" sz="900" err="1">
                <a:latin typeface="Arial"/>
                <a:cs typeface="Poppins"/>
              </a:rPr>
              <a:t>Percona</a:t>
            </a:r>
            <a:r>
              <a:rPr lang="en-US" sz="900">
                <a:latin typeface="Arial"/>
                <a:cs typeface="Poppins"/>
              </a:rPr>
              <a:t>, Oracle MySQL</a:t>
            </a:r>
            <a:endParaRPr lang="en-US" sz="900">
              <a:cs typeface="Poppins"/>
            </a:endParaRPr>
          </a:p>
        </p:txBody>
      </p:sp>
      <p:sp>
        <p:nvSpPr>
          <p:cNvPr id="47" name="Rectangle 46">
            <a:extLst>
              <a:ext uri="{FF2B5EF4-FFF2-40B4-BE49-F238E27FC236}">
                <a16:creationId xmlns:a16="http://schemas.microsoft.com/office/drawing/2014/main" id="{EAE39DCE-2AC5-085B-94ED-04408DC4FF19}"/>
              </a:ext>
            </a:extLst>
          </p:cNvPr>
          <p:cNvSpPr/>
          <p:nvPr/>
        </p:nvSpPr>
        <p:spPr bwMode="gray">
          <a:xfrm>
            <a:off x="8202317" y="3797790"/>
            <a:ext cx="3584626" cy="1253921"/>
          </a:xfrm>
          <a:prstGeom prst="rect">
            <a:avLst/>
          </a:prstGeom>
          <a:solidFill>
            <a:schemeClr val="bg1"/>
          </a:solidFill>
          <a:ln w="19050">
            <a:solidFill>
              <a:schemeClr val="tx1"/>
            </a:solidFill>
          </a:ln>
        </p:spPr>
        <p:txBody>
          <a:bodyPr wrap="square" lIns="91440" tIns="45720" rIns="91440" bIns="45720" anchor="t">
            <a:noAutofit/>
          </a:bodyPr>
          <a:lstStyle/>
          <a:p>
            <a:pPr marL="171450" indent="-171450">
              <a:lnSpc>
                <a:spcPct val="150000"/>
              </a:lnSpc>
              <a:spcBef>
                <a:spcPts val="100"/>
              </a:spcBef>
              <a:buFont typeface="Arial"/>
              <a:buChar char="•"/>
            </a:pPr>
            <a:r>
              <a:rPr lang="en-US" sz="900" b="1">
                <a:latin typeface="Arial"/>
                <a:cs typeface="Poppins"/>
              </a:rPr>
              <a:t>Reliability</a:t>
            </a:r>
            <a:r>
              <a:rPr lang="en-US" sz="900">
                <a:latin typeface="Arial"/>
                <a:cs typeface="Poppins"/>
              </a:rPr>
              <a:t> – Achieved with periodic backups</a:t>
            </a:r>
            <a:endParaRPr lang="en-US">
              <a:cs typeface="Arial" panose="020B0604020202020204"/>
            </a:endParaRPr>
          </a:p>
          <a:p>
            <a:pPr marL="171450" indent="-171450">
              <a:lnSpc>
                <a:spcPct val="150000"/>
              </a:lnSpc>
              <a:spcBef>
                <a:spcPts val="100"/>
              </a:spcBef>
              <a:buFont typeface="Arial"/>
              <a:buChar char="•"/>
            </a:pPr>
            <a:r>
              <a:rPr lang="en-US" sz="900" b="1">
                <a:latin typeface="Arial"/>
                <a:cs typeface="Poppins"/>
              </a:rPr>
              <a:t>Availability </a:t>
            </a:r>
            <a:r>
              <a:rPr lang="en-US" sz="900">
                <a:latin typeface="Arial"/>
                <a:cs typeface="Poppins"/>
              </a:rPr>
              <a:t>– Recommended 99.95% - leverage multiple AZs</a:t>
            </a:r>
          </a:p>
          <a:p>
            <a:pPr marL="171450" indent="-171450">
              <a:lnSpc>
                <a:spcPct val="150000"/>
              </a:lnSpc>
              <a:spcBef>
                <a:spcPts val="100"/>
              </a:spcBef>
              <a:buFont typeface="Arial"/>
              <a:buChar char="•"/>
            </a:pPr>
            <a:r>
              <a:rPr lang="en-US" sz="900" b="1">
                <a:latin typeface="Arial"/>
                <a:cs typeface="Poppins"/>
              </a:rPr>
              <a:t>Scalability </a:t>
            </a:r>
            <a:r>
              <a:rPr lang="en-US" sz="900">
                <a:latin typeface="Arial"/>
                <a:cs typeface="Poppins"/>
              </a:rPr>
              <a:t>– Demand based automated scale up &amp; down. ​</a:t>
            </a:r>
          </a:p>
          <a:p>
            <a:pPr marL="171450" indent="-171450">
              <a:lnSpc>
                <a:spcPct val="150000"/>
              </a:lnSpc>
              <a:spcBef>
                <a:spcPts val="100"/>
              </a:spcBef>
              <a:buFont typeface="Arial"/>
              <a:buChar char="•"/>
            </a:pPr>
            <a:r>
              <a:rPr lang="en-US" sz="900" b="1">
                <a:latin typeface="Arial"/>
                <a:cs typeface="Poppins"/>
              </a:rPr>
              <a:t>Performance </a:t>
            </a:r>
            <a:r>
              <a:rPr lang="en-US" sz="900">
                <a:latin typeface="Arial"/>
                <a:cs typeface="Poppins"/>
              </a:rPr>
              <a:t>– Secure performance benchmark numbers from private cloud to plan public cloud sizing</a:t>
            </a:r>
          </a:p>
        </p:txBody>
      </p:sp>
      <p:sp>
        <p:nvSpPr>
          <p:cNvPr id="3" name="TextBox 2">
            <a:extLst>
              <a:ext uri="{FF2B5EF4-FFF2-40B4-BE49-F238E27FC236}">
                <a16:creationId xmlns:a16="http://schemas.microsoft.com/office/drawing/2014/main" id="{E90958A8-5E71-AC97-8134-5A1D47C1798C}"/>
              </a:ext>
            </a:extLst>
          </p:cNvPr>
          <p:cNvSpPr txBox="1"/>
          <p:nvPr/>
        </p:nvSpPr>
        <p:spPr bwMode="gray">
          <a:xfrm>
            <a:off x="8187594" y="2440718"/>
            <a:ext cx="2731300" cy="340564"/>
          </a:xfrm>
          <a:prstGeom prst="rect">
            <a:avLst/>
          </a:prstGeom>
          <a:noFill/>
        </p:spPr>
        <p:txBody>
          <a:bodyPr wrap="square" lIns="0" tIns="0" rIns="0" bIns="0" anchor="t">
            <a:noAutofit/>
          </a:bodyPr>
          <a:lstStyle/>
          <a:p>
            <a:r>
              <a:rPr lang="en-US" sz="1200" b="1">
                <a:solidFill>
                  <a:srgbClr val="002677"/>
                </a:solidFill>
                <a:latin typeface="Arial"/>
                <a:cs typeface="Arial"/>
              </a:rPr>
              <a:t>Tech Stack</a:t>
            </a:r>
            <a:endParaRPr lang="en-US" sz="1200" b="1">
              <a:solidFill>
                <a:srgbClr val="002677"/>
              </a:solidFill>
              <a:cs typeface="Arial"/>
            </a:endParaRPr>
          </a:p>
        </p:txBody>
      </p:sp>
      <p:sp>
        <p:nvSpPr>
          <p:cNvPr id="4" name="TextBox 3">
            <a:extLst>
              <a:ext uri="{FF2B5EF4-FFF2-40B4-BE49-F238E27FC236}">
                <a16:creationId xmlns:a16="http://schemas.microsoft.com/office/drawing/2014/main" id="{4CE717E0-A5B9-1AE9-504F-909FC3AFC928}"/>
              </a:ext>
            </a:extLst>
          </p:cNvPr>
          <p:cNvSpPr txBox="1"/>
          <p:nvPr/>
        </p:nvSpPr>
        <p:spPr bwMode="gray">
          <a:xfrm>
            <a:off x="8191275" y="3559791"/>
            <a:ext cx="2734981" cy="237492"/>
          </a:xfrm>
          <a:prstGeom prst="rect">
            <a:avLst/>
          </a:prstGeom>
          <a:noFill/>
        </p:spPr>
        <p:txBody>
          <a:bodyPr wrap="square" lIns="0" tIns="0" rIns="0" bIns="0" anchor="t">
            <a:noAutofit/>
          </a:bodyPr>
          <a:lstStyle/>
          <a:p>
            <a:r>
              <a:rPr lang="en-US" sz="1200" b="1">
                <a:solidFill>
                  <a:srgbClr val="002677"/>
                </a:solidFill>
                <a:latin typeface="Arial"/>
                <a:cs typeface="Arial"/>
              </a:rPr>
              <a:t>RASP Recommendations</a:t>
            </a:r>
            <a:endParaRPr lang="en-US">
              <a:solidFill>
                <a:srgbClr val="002677"/>
              </a:solidFill>
            </a:endParaRPr>
          </a:p>
        </p:txBody>
      </p:sp>
      <p:graphicFrame>
        <p:nvGraphicFramePr>
          <p:cNvPr id="82" name="Table 81">
            <a:extLst>
              <a:ext uri="{FF2B5EF4-FFF2-40B4-BE49-F238E27FC236}">
                <a16:creationId xmlns:a16="http://schemas.microsoft.com/office/drawing/2014/main" id="{81D2A15A-B53E-1828-BBA5-6C13FC631F35}"/>
              </a:ext>
            </a:extLst>
          </p:cNvPr>
          <p:cNvGraphicFramePr>
            <a:graphicFrameLocks noGrp="1"/>
          </p:cNvGraphicFramePr>
          <p:nvPr/>
        </p:nvGraphicFramePr>
        <p:xfrm>
          <a:off x="382896" y="5244453"/>
          <a:ext cx="11402993" cy="736743"/>
        </p:xfrm>
        <a:graphic>
          <a:graphicData uri="http://schemas.openxmlformats.org/drawingml/2006/table">
            <a:tbl>
              <a:tblPr firstRow="1" bandRow="1">
                <a:tableStyleId>{5C22544A-7EE6-4342-B048-85BDC9FD1C3A}</a:tableStyleId>
              </a:tblPr>
              <a:tblGrid>
                <a:gridCol w="1628999">
                  <a:extLst>
                    <a:ext uri="{9D8B030D-6E8A-4147-A177-3AD203B41FA5}">
                      <a16:colId xmlns:a16="http://schemas.microsoft.com/office/drawing/2014/main" val="2706847175"/>
                    </a:ext>
                  </a:extLst>
                </a:gridCol>
                <a:gridCol w="1628999">
                  <a:extLst>
                    <a:ext uri="{9D8B030D-6E8A-4147-A177-3AD203B41FA5}">
                      <a16:colId xmlns:a16="http://schemas.microsoft.com/office/drawing/2014/main" val="2720184108"/>
                    </a:ext>
                  </a:extLst>
                </a:gridCol>
                <a:gridCol w="1628999">
                  <a:extLst>
                    <a:ext uri="{9D8B030D-6E8A-4147-A177-3AD203B41FA5}">
                      <a16:colId xmlns:a16="http://schemas.microsoft.com/office/drawing/2014/main" val="3248965709"/>
                    </a:ext>
                  </a:extLst>
                </a:gridCol>
                <a:gridCol w="1628999">
                  <a:extLst>
                    <a:ext uri="{9D8B030D-6E8A-4147-A177-3AD203B41FA5}">
                      <a16:colId xmlns:a16="http://schemas.microsoft.com/office/drawing/2014/main" val="496327065"/>
                    </a:ext>
                  </a:extLst>
                </a:gridCol>
                <a:gridCol w="1628999">
                  <a:extLst>
                    <a:ext uri="{9D8B030D-6E8A-4147-A177-3AD203B41FA5}">
                      <a16:colId xmlns:a16="http://schemas.microsoft.com/office/drawing/2014/main" val="2185673654"/>
                    </a:ext>
                  </a:extLst>
                </a:gridCol>
                <a:gridCol w="1628999">
                  <a:extLst>
                    <a:ext uri="{9D8B030D-6E8A-4147-A177-3AD203B41FA5}">
                      <a16:colId xmlns:a16="http://schemas.microsoft.com/office/drawing/2014/main" val="3536716060"/>
                    </a:ext>
                  </a:extLst>
                </a:gridCol>
                <a:gridCol w="1628999">
                  <a:extLst>
                    <a:ext uri="{9D8B030D-6E8A-4147-A177-3AD203B41FA5}">
                      <a16:colId xmlns:a16="http://schemas.microsoft.com/office/drawing/2014/main" val="3007380396"/>
                    </a:ext>
                  </a:extLst>
                </a:gridCol>
              </a:tblGrid>
              <a:tr h="442046">
                <a:tc>
                  <a:txBody>
                    <a:bodyPr/>
                    <a:lstStyle/>
                    <a:p>
                      <a:pPr algn="ctr"/>
                      <a:r>
                        <a:rPr lang="en-US" sz="1000">
                          <a:latin typeface="+mn-lt"/>
                          <a:ea typeface="+mn-ea"/>
                          <a:cs typeface="+mn-cs"/>
                        </a:rPr>
                        <a:t>Overal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Data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Security &amp; Compli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Business Continu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Cloud Readines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Cost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latin typeface="+mn-lt"/>
                          <a:ea typeface="+mn-ea"/>
                          <a:cs typeface="+mn-cs"/>
                        </a:rPr>
                        <a:t>App Architectu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extLst>
                  <a:ext uri="{0D108BD9-81ED-4DB2-BD59-A6C34878D82A}">
                    <a16:rowId xmlns:a16="http://schemas.microsoft.com/office/drawing/2014/main" val="2756382291"/>
                  </a:ext>
                </a:extLst>
              </a:tr>
              <a:tr h="294697">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2973547"/>
                  </a:ext>
                </a:extLst>
              </a:tr>
            </a:tbl>
          </a:graphicData>
        </a:graphic>
      </p:graphicFrame>
      <p:sp>
        <p:nvSpPr>
          <p:cNvPr id="11" name="TextBox 10">
            <a:extLst>
              <a:ext uri="{FF2B5EF4-FFF2-40B4-BE49-F238E27FC236}">
                <a16:creationId xmlns:a16="http://schemas.microsoft.com/office/drawing/2014/main" id="{2CB355F0-0B42-E6D8-0D4D-15ADA1A2BE42}"/>
              </a:ext>
            </a:extLst>
          </p:cNvPr>
          <p:cNvSpPr txBox="1"/>
          <p:nvPr/>
        </p:nvSpPr>
        <p:spPr bwMode="gray">
          <a:xfrm>
            <a:off x="9940969" y="347330"/>
            <a:ext cx="1466220" cy="3693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Bef>
                <a:spcPts val="600"/>
              </a:spcBef>
            </a:pPr>
            <a:r>
              <a:rPr lang="en-US" sz="2400">
                <a:solidFill>
                  <a:srgbClr val="002677"/>
                </a:solidFill>
                <a:cs typeface="Arial"/>
              </a:rPr>
              <a:t>$67,000</a:t>
            </a:r>
          </a:p>
        </p:txBody>
      </p:sp>
      <p:sp>
        <p:nvSpPr>
          <p:cNvPr id="14" name="TextBox 13">
            <a:extLst>
              <a:ext uri="{FF2B5EF4-FFF2-40B4-BE49-F238E27FC236}">
                <a16:creationId xmlns:a16="http://schemas.microsoft.com/office/drawing/2014/main" id="{9814025A-B64F-1F01-3739-45873D3121D0}"/>
              </a:ext>
            </a:extLst>
          </p:cNvPr>
          <p:cNvSpPr txBox="1"/>
          <p:nvPr/>
        </p:nvSpPr>
        <p:spPr bwMode="gray">
          <a:xfrm>
            <a:off x="9449233" y="80712"/>
            <a:ext cx="2078806" cy="33855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pPr>
            <a:r>
              <a:rPr lang="en-US" sz="1100">
                <a:solidFill>
                  <a:srgbClr val="002677"/>
                </a:solidFill>
                <a:cs typeface="Arial"/>
              </a:rPr>
              <a:t>~Potential 1 year Infra Savings</a:t>
            </a:r>
            <a:br>
              <a:rPr lang="en-US" sz="1100">
                <a:solidFill>
                  <a:srgbClr val="002677"/>
                </a:solidFill>
                <a:cs typeface="Arial"/>
              </a:rPr>
            </a:br>
            <a:endParaRPr lang="en-US" sz="1100">
              <a:solidFill>
                <a:srgbClr val="002677"/>
              </a:solidFill>
            </a:endParaRPr>
          </a:p>
        </p:txBody>
      </p:sp>
      <p:grpSp>
        <p:nvGrpSpPr>
          <p:cNvPr id="32" name="Group 31">
            <a:extLst>
              <a:ext uri="{FF2B5EF4-FFF2-40B4-BE49-F238E27FC236}">
                <a16:creationId xmlns:a16="http://schemas.microsoft.com/office/drawing/2014/main" id="{424A8EF0-D61A-7ED3-52C7-08E9C01B203B}"/>
              </a:ext>
            </a:extLst>
          </p:cNvPr>
          <p:cNvGrpSpPr/>
          <p:nvPr/>
        </p:nvGrpSpPr>
        <p:grpSpPr bwMode="gray">
          <a:xfrm>
            <a:off x="5993499" y="5694603"/>
            <a:ext cx="296400" cy="262486"/>
            <a:chOff x="4124113" y="6162441"/>
            <a:chExt cx="996041" cy="996041"/>
          </a:xfrm>
        </p:grpSpPr>
        <p:sp>
          <p:nvSpPr>
            <p:cNvPr id="33" name="Oval 32">
              <a:extLst>
                <a:ext uri="{FF2B5EF4-FFF2-40B4-BE49-F238E27FC236}">
                  <a16:creationId xmlns:a16="http://schemas.microsoft.com/office/drawing/2014/main" id="{C60C0EBA-6113-3307-5F91-D5E65F4DF5ED}"/>
                </a:ext>
              </a:extLst>
            </p:cNvPr>
            <p:cNvSpPr/>
            <p:nvPr/>
          </p:nvSpPr>
          <p:spPr bwMode="gray">
            <a:xfrm>
              <a:off x="4124113" y="6162441"/>
              <a:ext cx="996039" cy="996039"/>
            </a:xfrm>
            <a:prstGeom prst="ellipse">
              <a:avLst/>
            </a:pr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Oval 59">
              <a:extLst>
                <a:ext uri="{FF2B5EF4-FFF2-40B4-BE49-F238E27FC236}">
                  <a16:creationId xmlns:a16="http://schemas.microsoft.com/office/drawing/2014/main" id="{A5EB28D0-AAAC-57A4-57F0-F581E51C0C9A}"/>
                </a:ext>
              </a:extLst>
            </p:cNvPr>
            <p:cNvSpPr/>
            <p:nvPr/>
          </p:nvSpPr>
          <p:spPr bwMode="gray">
            <a:xfrm>
              <a:off x="4621865" y="6162442"/>
              <a:ext cx="498289" cy="99604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289" h="996040">
                  <a:moveTo>
                    <a:pt x="2312" y="488495"/>
                  </a:moveTo>
                  <a:cubicBezTo>
                    <a:pt x="2312" y="213446"/>
                    <a:pt x="1445" y="52388"/>
                    <a:pt x="269" y="0"/>
                  </a:cubicBezTo>
                  <a:cubicBezTo>
                    <a:pt x="275318" y="0"/>
                    <a:pt x="498289" y="222971"/>
                    <a:pt x="498289" y="498020"/>
                  </a:cubicBezTo>
                  <a:cubicBezTo>
                    <a:pt x="498289" y="773069"/>
                    <a:pt x="275318" y="996040"/>
                    <a:pt x="269" y="996040"/>
                  </a:cubicBezTo>
                  <a:cubicBezTo>
                    <a:pt x="-936" y="941271"/>
                    <a:pt x="2312" y="763544"/>
                    <a:pt x="2312" y="488495"/>
                  </a:cubicBezTo>
                  <a:close/>
                </a:path>
              </a:pathLst>
            </a:cu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38" name="Group 37">
            <a:extLst>
              <a:ext uri="{FF2B5EF4-FFF2-40B4-BE49-F238E27FC236}">
                <a16:creationId xmlns:a16="http://schemas.microsoft.com/office/drawing/2014/main" id="{6609458F-A4B1-9799-83DB-F151197021AC}"/>
              </a:ext>
            </a:extLst>
          </p:cNvPr>
          <p:cNvGrpSpPr/>
          <p:nvPr/>
        </p:nvGrpSpPr>
        <p:grpSpPr bwMode="gray">
          <a:xfrm>
            <a:off x="4311429" y="5711771"/>
            <a:ext cx="296399" cy="262486"/>
            <a:chOff x="5532574" y="6162439"/>
            <a:chExt cx="996039" cy="996042"/>
          </a:xfrm>
        </p:grpSpPr>
        <p:sp>
          <p:nvSpPr>
            <p:cNvPr id="39" name="Oval 38">
              <a:extLst>
                <a:ext uri="{FF2B5EF4-FFF2-40B4-BE49-F238E27FC236}">
                  <a16:creationId xmlns:a16="http://schemas.microsoft.com/office/drawing/2014/main" id="{B7DE0CB6-6EA9-FFE8-84DD-2DA4BFCB5042}"/>
                </a:ext>
              </a:extLst>
            </p:cNvPr>
            <p:cNvSpPr/>
            <p:nvPr/>
          </p:nvSpPr>
          <p:spPr bwMode="gray">
            <a:xfrm rot="16200000">
              <a:off x="5532574" y="6162442"/>
              <a:ext cx="996039"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Oval 59">
              <a:extLst>
                <a:ext uri="{FF2B5EF4-FFF2-40B4-BE49-F238E27FC236}">
                  <a16:creationId xmlns:a16="http://schemas.microsoft.com/office/drawing/2014/main" id="{D165E231-C2B7-709D-5D77-9FDA8CC67DE6}"/>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4" name="Group 43">
            <a:extLst>
              <a:ext uri="{FF2B5EF4-FFF2-40B4-BE49-F238E27FC236}">
                <a16:creationId xmlns:a16="http://schemas.microsoft.com/office/drawing/2014/main" id="{409F08CA-F9C0-2018-7599-9D7B265BE3BA}"/>
              </a:ext>
            </a:extLst>
          </p:cNvPr>
          <p:cNvGrpSpPr/>
          <p:nvPr/>
        </p:nvGrpSpPr>
        <p:grpSpPr bwMode="gray">
          <a:xfrm>
            <a:off x="9225227" y="5688316"/>
            <a:ext cx="296399" cy="262486"/>
            <a:chOff x="5532574" y="6162439"/>
            <a:chExt cx="996039" cy="996042"/>
          </a:xfrm>
        </p:grpSpPr>
        <p:sp>
          <p:nvSpPr>
            <p:cNvPr id="45" name="Oval 44">
              <a:extLst>
                <a:ext uri="{FF2B5EF4-FFF2-40B4-BE49-F238E27FC236}">
                  <a16:creationId xmlns:a16="http://schemas.microsoft.com/office/drawing/2014/main" id="{418A1821-F7F5-700F-5E24-4315D421069D}"/>
                </a:ext>
              </a:extLst>
            </p:cNvPr>
            <p:cNvSpPr/>
            <p:nvPr/>
          </p:nvSpPr>
          <p:spPr bwMode="gray">
            <a:xfrm rot="16200000">
              <a:off x="5532574" y="6162442"/>
              <a:ext cx="996039"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Oval 59">
              <a:extLst>
                <a:ext uri="{FF2B5EF4-FFF2-40B4-BE49-F238E27FC236}">
                  <a16:creationId xmlns:a16="http://schemas.microsoft.com/office/drawing/2014/main" id="{A92863E4-D3D8-C35F-3E18-A8C3E0F5EDDB}"/>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8" name="Group 47">
            <a:extLst>
              <a:ext uri="{FF2B5EF4-FFF2-40B4-BE49-F238E27FC236}">
                <a16:creationId xmlns:a16="http://schemas.microsoft.com/office/drawing/2014/main" id="{2FB6F4F5-9FBC-23F3-DD53-27AA62C69689}"/>
              </a:ext>
            </a:extLst>
          </p:cNvPr>
          <p:cNvGrpSpPr/>
          <p:nvPr/>
        </p:nvGrpSpPr>
        <p:grpSpPr bwMode="gray">
          <a:xfrm>
            <a:off x="10814180" y="5696116"/>
            <a:ext cx="296399" cy="262486"/>
            <a:chOff x="5532574" y="6162439"/>
            <a:chExt cx="996039" cy="996042"/>
          </a:xfrm>
        </p:grpSpPr>
        <p:sp>
          <p:nvSpPr>
            <p:cNvPr id="49" name="Oval 48">
              <a:extLst>
                <a:ext uri="{FF2B5EF4-FFF2-40B4-BE49-F238E27FC236}">
                  <a16:creationId xmlns:a16="http://schemas.microsoft.com/office/drawing/2014/main" id="{AE443E2C-AA72-2BE5-9596-F45C382708B9}"/>
                </a:ext>
              </a:extLst>
            </p:cNvPr>
            <p:cNvSpPr/>
            <p:nvPr/>
          </p:nvSpPr>
          <p:spPr bwMode="gray">
            <a:xfrm rot="16200000">
              <a:off x="5532574" y="6162442"/>
              <a:ext cx="996039"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Oval 59">
              <a:extLst>
                <a:ext uri="{FF2B5EF4-FFF2-40B4-BE49-F238E27FC236}">
                  <a16:creationId xmlns:a16="http://schemas.microsoft.com/office/drawing/2014/main" id="{0908999E-1697-6652-21D1-B87A8CFDEA18}"/>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5" name="TextBox 14">
            <a:extLst>
              <a:ext uri="{FF2B5EF4-FFF2-40B4-BE49-F238E27FC236}">
                <a16:creationId xmlns:a16="http://schemas.microsoft.com/office/drawing/2014/main" id="{07DE9142-F2A0-FA3D-6D16-363248F30D82}"/>
              </a:ext>
            </a:extLst>
          </p:cNvPr>
          <p:cNvSpPr txBox="1"/>
          <p:nvPr/>
        </p:nvSpPr>
        <p:spPr bwMode="gray">
          <a:xfrm>
            <a:off x="2148289" y="6084886"/>
            <a:ext cx="9610379" cy="16158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a:spcBef>
                <a:spcPts val="600"/>
              </a:spcBef>
            </a:pPr>
            <a:r>
              <a:rPr lang="en-US" sz="1050">
                <a:cs typeface="Arial"/>
              </a:rPr>
              <a:t>*Infra Monthly TCO Savings based on On-Prem TCO and Azure Hybrid Benefits</a:t>
            </a:r>
            <a:endParaRPr lang="en-US" sz="1050"/>
          </a:p>
        </p:txBody>
      </p:sp>
      <p:grpSp>
        <p:nvGrpSpPr>
          <p:cNvPr id="18" name="Group 17">
            <a:extLst>
              <a:ext uri="{FF2B5EF4-FFF2-40B4-BE49-F238E27FC236}">
                <a16:creationId xmlns:a16="http://schemas.microsoft.com/office/drawing/2014/main" id="{47A5C63D-2775-437F-8F44-BC33174CBBFF}"/>
              </a:ext>
            </a:extLst>
          </p:cNvPr>
          <p:cNvGrpSpPr/>
          <p:nvPr/>
        </p:nvGrpSpPr>
        <p:grpSpPr bwMode="gray">
          <a:xfrm>
            <a:off x="1013687" y="5686874"/>
            <a:ext cx="296399" cy="262486"/>
            <a:chOff x="5532574" y="6162439"/>
            <a:chExt cx="996039" cy="996042"/>
          </a:xfrm>
        </p:grpSpPr>
        <p:sp>
          <p:nvSpPr>
            <p:cNvPr id="20" name="Oval 19">
              <a:extLst>
                <a:ext uri="{FF2B5EF4-FFF2-40B4-BE49-F238E27FC236}">
                  <a16:creationId xmlns:a16="http://schemas.microsoft.com/office/drawing/2014/main" id="{E46479FA-CA6A-A8C9-008C-EB5DEC570BCD}"/>
                </a:ext>
              </a:extLst>
            </p:cNvPr>
            <p:cNvSpPr/>
            <p:nvPr/>
          </p:nvSpPr>
          <p:spPr bwMode="gray">
            <a:xfrm rot="16200000">
              <a:off x="5532574" y="6162442"/>
              <a:ext cx="996039"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Oval 59">
              <a:extLst>
                <a:ext uri="{FF2B5EF4-FFF2-40B4-BE49-F238E27FC236}">
                  <a16:creationId xmlns:a16="http://schemas.microsoft.com/office/drawing/2014/main" id="{618D7691-DD37-1ECC-DD19-286095FC4D39}"/>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7" name="Group 6">
            <a:extLst>
              <a:ext uri="{FF2B5EF4-FFF2-40B4-BE49-F238E27FC236}">
                <a16:creationId xmlns:a16="http://schemas.microsoft.com/office/drawing/2014/main" id="{66764843-F982-1680-6748-7983CFE4A347}"/>
              </a:ext>
            </a:extLst>
          </p:cNvPr>
          <p:cNvGrpSpPr/>
          <p:nvPr/>
        </p:nvGrpSpPr>
        <p:grpSpPr bwMode="gray">
          <a:xfrm>
            <a:off x="2730119" y="5711771"/>
            <a:ext cx="296399" cy="262486"/>
            <a:chOff x="5532574" y="6162439"/>
            <a:chExt cx="996039" cy="996042"/>
          </a:xfrm>
        </p:grpSpPr>
        <p:sp>
          <p:nvSpPr>
            <p:cNvPr id="21" name="Oval 20">
              <a:extLst>
                <a:ext uri="{FF2B5EF4-FFF2-40B4-BE49-F238E27FC236}">
                  <a16:creationId xmlns:a16="http://schemas.microsoft.com/office/drawing/2014/main" id="{C8A212E2-B596-7484-31CE-E92098565E90}"/>
                </a:ext>
              </a:extLst>
            </p:cNvPr>
            <p:cNvSpPr/>
            <p:nvPr/>
          </p:nvSpPr>
          <p:spPr bwMode="gray">
            <a:xfrm rot="16200000">
              <a:off x="5532574" y="6162442"/>
              <a:ext cx="996039"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Oval 59">
              <a:extLst>
                <a:ext uri="{FF2B5EF4-FFF2-40B4-BE49-F238E27FC236}">
                  <a16:creationId xmlns:a16="http://schemas.microsoft.com/office/drawing/2014/main" id="{DCAF9E27-2724-B9DB-71B5-BD7B4F99219B}"/>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7" name="Group 26">
            <a:extLst>
              <a:ext uri="{FF2B5EF4-FFF2-40B4-BE49-F238E27FC236}">
                <a16:creationId xmlns:a16="http://schemas.microsoft.com/office/drawing/2014/main" id="{076F77E1-C0E7-E19E-CFAD-F950F10F78C6}"/>
              </a:ext>
            </a:extLst>
          </p:cNvPr>
          <p:cNvGrpSpPr/>
          <p:nvPr/>
        </p:nvGrpSpPr>
        <p:grpSpPr bwMode="gray">
          <a:xfrm>
            <a:off x="7561731" y="5686874"/>
            <a:ext cx="296399" cy="262486"/>
            <a:chOff x="5532574" y="6162439"/>
            <a:chExt cx="996039" cy="996042"/>
          </a:xfrm>
        </p:grpSpPr>
        <p:sp>
          <p:nvSpPr>
            <p:cNvPr id="35" name="Oval 34">
              <a:extLst>
                <a:ext uri="{FF2B5EF4-FFF2-40B4-BE49-F238E27FC236}">
                  <a16:creationId xmlns:a16="http://schemas.microsoft.com/office/drawing/2014/main" id="{2F7C7C65-CAB3-4024-303F-575AAC889C50}"/>
                </a:ext>
              </a:extLst>
            </p:cNvPr>
            <p:cNvSpPr/>
            <p:nvPr/>
          </p:nvSpPr>
          <p:spPr bwMode="gray">
            <a:xfrm rot="16200000">
              <a:off x="5532574" y="6162442"/>
              <a:ext cx="996039"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Oval 59">
              <a:extLst>
                <a:ext uri="{FF2B5EF4-FFF2-40B4-BE49-F238E27FC236}">
                  <a16:creationId xmlns:a16="http://schemas.microsoft.com/office/drawing/2014/main" id="{06A9475D-9C65-103A-5639-7E14CB2CCA0C}"/>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4606933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40101.potx" id="{89739526-88AA-4349-975F-2EFAE3BC58B6}" vid="{91F0536E-B5A7-4A27-81BB-8B0DBBFC37BF}"/>
    </a:ext>
  </a:extLst>
</a:theme>
</file>

<file path=ppt/theme/theme2.xml><?xml version="1.0" encoding="utf-8"?>
<a:theme xmlns:a="http://schemas.openxmlformats.org/drawingml/2006/main" name="1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z-optum-onscreen-16x9-glg-20240101.potx" id="{81C5947D-C49D-403A-BB0F-84643324A0AC}" vid="{8954040C-117B-4244-BE76-4B2A0B41DDCA}"/>
    </a:ext>
  </a:extLst>
</a:theme>
</file>

<file path=ppt/theme/theme3.xml><?xml version="1.0" encoding="utf-8"?>
<a:theme xmlns:a="http://schemas.openxmlformats.org/drawingml/2006/main" name="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40101.potx" id="{89739526-88AA-4349-975F-2EFAE3BC58B6}" vid="{91F0536E-B5A7-4A27-81BB-8B0DBBFC37BF}"/>
    </a:ext>
  </a:extLst>
</a:theme>
</file>

<file path=ppt/theme/theme4.xml><?xml version="1.0" encoding="utf-8"?>
<a:theme xmlns:a="http://schemas.openxmlformats.org/drawingml/2006/main" name="2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RESOURCE optum-onscreen-glg-20250101.potx" id="{CA94E316-A5F4-4C44-9D83-9ADF42D7A324}" vid="{1A12CF74-A119-426E-A32E-DFB38FA2B86A}"/>
    </a:ext>
  </a:extLst>
</a:theme>
</file>

<file path=ppt/theme/theme5.xml><?xml version="1.0" encoding="utf-8"?>
<a:theme xmlns:a="http://schemas.openxmlformats.org/drawingml/2006/main" name="3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40101.potx" id="{89739526-88AA-4349-975F-2EFAE3BC58B6}" vid="{91F0536E-B5A7-4A27-81BB-8B0DBBFC37B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F4DEFC60-AAB9-9042-A89A-1965B6887904}">
  <we:reference id="f1abd87f-a3ba-42fb-91d5-100000000000"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E9E53E8BD707542AAE56DE1CB0D2EA1" ma:contentTypeVersion="15" ma:contentTypeDescription="Create a new document." ma:contentTypeScope="" ma:versionID="093689f9faaabf6930d581c7f8bfa00a">
  <xsd:schema xmlns:xsd="http://www.w3.org/2001/XMLSchema" xmlns:xs="http://www.w3.org/2001/XMLSchema" xmlns:p="http://schemas.microsoft.com/office/2006/metadata/properties" xmlns:ns2="816e9d17-1467-4f10-9f64-6fa3250acdda" xmlns:ns3="981aa589-6265-4267-a044-f7b742ef8bfb" targetNamespace="http://schemas.microsoft.com/office/2006/metadata/properties" ma:root="true" ma:fieldsID="b531cd8458b5d6a43f935bfd7a832c2e" ns2:_="" ns3:_="">
    <xsd:import namespace="816e9d17-1467-4f10-9f64-6fa3250acdda"/>
    <xsd:import namespace="981aa589-6265-4267-a044-f7b742ef8bf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COESA" minOccurs="0"/>
                <xsd:element ref="ns2:COESecondarySA" minOccurs="0"/>
                <xsd:element ref="ns2:MediaLengthInSeconds"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6e9d17-1467-4f10-9f64-6fa3250acdd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a6b2b66-40d8-4e06-8a39-adc3ecd4519b"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COESA" ma:index="19" nillable="true" ma:displayName="COE Primary SA" ma:format="Dropdown" ma:list="UserInfo" ma:SharePointGroup="0" ma:internalName="COES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OESecondarySA" ma:index="20" nillable="true" ma:displayName="COE Secondary SA" ma:format="Dropdown" ma:list="UserInfo" ma:SharePointGroup="0" ma:internalName="COESecondaryS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LengthInSeconds" ma:index="21" nillable="true" ma:displayName="MediaLengthInSeconds" ma:hidden="true" ma:internalName="MediaLengthInSeconds" ma:readOnly="true">
      <xsd:simpleType>
        <xsd:restriction base="dms:Unknown"/>
      </xsd:simpleType>
    </xsd:element>
    <xsd:element name="NOTES" ma:index="22" nillable="true" ma:displayName="NOTES" ma:format="Dropdown" ma:internalName="NOTE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81aa589-6265-4267-a044-f7b742ef8bfb"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96c42edf-45b2-4a08-a935-a21bc9c844c8}" ma:internalName="TaxCatchAll" ma:showField="CatchAllData" ma:web="981aa589-6265-4267-a044-f7b742ef8bf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OESecondarySA xmlns="816e9d17-1467-4f10-9f64-6fa3250acdda">
      <UserInfo>
        <DisplayName/>
        <AccountId xsi:nil="true"/>
        <AccountType/>
      </UserInfo>
    </COESecondarySA>
    <NOTES xmlns="816e9d17-1467-4f10-9f64-6fa3250acdda" xsi:nil="true"/>
    <COESA xmlns="816e9d17-1467-4f10-9f64-6fa3250acdda">
      <UserInfo>
        <DisplayName/>
        <AccountId xsi:nil="true"/>
        <AccountType/>
      </UserInfo>
    </COESA>
    <lcf76f155ced4ddcb4097134ff3c332f xmlns="816e9d17-1467-4f10-9f64-6fa3250acdda">
      <Terms xmlns="http://schemas.microsoft.com/office/infopath/2007/PartnerControls"/>
    </lcf76f155ced4ddcb4097134ff3c332f>
    <TaxCatchAll xmlns="981aa589-6265-4267-a044-f7b742ef8bfb" xsi:nil="true"/>
  </documentManagement>
</p:properties>
</file>

<file path=customXml/itemProps1.xml><?xml version="1.0" encoding="utf-8"?>
<ds:datastoreItem xmlns:ds="http://schemas.openxmlformats.org/officeDocument/2006/customXml" ds:itemID="{7488546A-4A9D-4F5C-AAE4-F514E335E12B}">
  <ds:schemaRefs>
    <ds:schemaRef ds:uri="816e9d17-1467-4f10-9f64-6fa3250acdda"/>
    <ds:schemaRef ds:uri="981aa589-6265-4267-a044-f7b742ef8bf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1380474-660D-4808-9D09-BAC4B41048E1}">
  <ds:schemaRefs>
    <ds:schemaRef ds:uri="http://schemas.microsoft.com/sharepoint/v3/contenttype/forms"/>
  </ds:schemaRefs>
</ds:datastoreItem>
</file>

<file path=customXml/itemProps3.xml><?xml version="1.0" encoding="utf-8"?>
<ds:datastoreItem xmlns:ds="http://schemas.openxmlformats.org/officeDocument/2006/customXml" ds:itemID="{EEDBCE02-B064-4E3F-8D84-C4C1AE5A46DC}">
  <ds:schemaRefs>
    <ds:schemaRef ds:uri="816e9d17-1467-4f10-9f64-6fa3250acdda"/>
    <ds:schemaRef ds:uri="981aa589-6265-4267-a044-f7b742ef8bf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Slides>
  <Notes>1</Notes>
  <HiddenSlides>0</HiddenSlides>
  <ScaleCrop>false</ScaleCrop>
  <HeadingPairs>
    <vt:vector size="4" baseType="variant">
      <vt:variant>
        <vt:lpstr>Theme</vt:lpstr>
      </vt:variant>
      <vt:variant>
        <vt:i4>5</vt:i4>
      </vt:variant>
      <vt:variant>
        <vt:lpstr>Slide Titles</vt:lpstr>
      </vt:variant>
      <vt:variant>
        <vt:i4>1</vt:i4>
      </vt:variant>
    </vt:vector>
  </HeadingPairs>
  <TitlesOfParts>
    <vt:vector size="6" baseType="lpstr">
      <vt:lpstr>Optum Theme</vt:lpstr>
      <vt:lpstr>1_Optum Theme</vt:lpstr>
      <vt:lpstr>Optum Theme</vt:lpstr>
      <vt:lpstr>2_Optum Theme</vt:lpstr>
      <vt:lpstr>3_Optum Theme</vt:lpstr>
      <vt:lpstr>Migration Analysis Report – AGat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lerating Our Cloud Journey</dc:title>
  <dc:subject/>
  <dc:creator>Rajavel Sekaran</dc:creator>
  <cp:keywords/>
  <dc:description/>
  <cp:revision>3</cp:revision>
  <cp:lastPrinted>2025-01-13T16:44:19Z</cp:lastPrinted>
  <dcterms:created xsi:type="dcterms:W3CDTF">2024-11-09T16:00:54Z</dcterms:created>
  <dcterms:modified xsi:type="dcterms:W3CDTF">2025-03-27T20:51:1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E53E8BD707542AAE56DE1CB0D2EA1</vt:lpwstr>
  </property>
  <property fmtid="{D5CDD505-2E9C-101B-9397-08002B2CF9AE}" pid="3" name="MediaServiceImageTags">
    <vt:lpwstr/>
  </property>
</Properties>
</file>